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1" r:id="rId4"/>
    <p:sldMasterId id="2147483861" r:id="rId5"/>
    <p:sldMasterId id="2147483876" r:id="rId6"/>
    <p:sldMasterId id="2147483730" r:id="rId7"/>
    <p:sldMasterId id="2147483872" r:id="rId8"/>
  </p:sldMasterIdLst>
  <p:notesMasterIdLst>
    <p:notesMasterId r:id="rId14"/>
  </p:notesMasterIdLst>
  <p:handoutMasterIdLst>
    <p:handoutMasterId r:id="rId15"/>
  </p:handoutMasterIdLst>
  <p:sldIdLst>
    <p:sldId id="298" r:id="rId9"/>
    <p:sldId id="1051" r:id="rId10"/>
    <p:sldId id="1022" r:id="rId11"/>
    <p:sldId id="1023" r:id="rId12"/>
    <p:sldId id="1024" r:id="rId13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ABDB"/>
    <a:srgbClr val="0579B9"/>
    <a:srgbClr val="0A8CB7"/>
    <a:srgbClr val="005482"/>
    <a:srgbClr val="68D1F3"/>
    <a:srgbClr val="461063"/>
    <a:srgbClr val="95E616"/>
    <a:srgbClr val="FF304C"/>
    <a:srgbClr val="6E97C9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0DBABF-D47B-49A4-8402-5398E663BA9F}" v="3" dt="2019-02-21T16:07:59.0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71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82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290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t>21/02/2019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21/02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7801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6622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123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3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44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42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5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43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32.emf"/><Relationship Id="rId7" Type="http://schemas.openxmlformats.org/officeDocument/2006/relationships/image" Target="../media/image46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45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47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32.emf"/><Relationship Id="rId7" Type="http://schemas.openxmlformats.org/officeDocument/2006/relationships/image" Target="../media/image46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45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4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 userDrawn="1"/>
        </p:nvSpPr>
        <p:spPr>
          <a:xfrm>
            <a:off x="2421624" y="4103226"/>
            <a:ext cx="9770376" cy="2754775"/>
          </a:xfrm>
          <a:custGeom>
            <a:avLst/>
            <a:gdLst>
              <a:gd name="connsiteX0" fmla="*/ 3514064 w 9770376"/>
              <a:gd name="connsiteY0" fmla="*/ 0 h 2754775"/>
              <a:gd name="connsiteX1" fmla="*/ 9770376 w 9770376"/>
              <a:gd name="connsiteY1" fmla="*/ 0 h 2754775"/>
              <a:gd name="connsiteX2" fmla="*/ 9770376 w 9770376"/>
              <a:gd name="connsiteY2" fmla="*/ 2754775 h 2754775"/>
              <a:gd name="connsiteX3" fmla="*/ 0 w 9770376"/>
              <a:gd name="connsiteY3" fmla="*/ 2754775 h 2754775"/>
              <a:gd name="connsiteX4" fmla="*/ 12200 w 9770376"/>
              <a:gd name="connsiteY4" fmla="*/ 2696642 h 2754775"/>
              <a:gd name="connsiteX5" fmla="*/ 3514064 w 9770376"/>
              <a:gd name="connsiteY5" fmla="*/ 0 h 275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770376" h="2754775">
                <a:moveTo>
                  <a:pt x="3514064" y="0"/>
                </a:moveTo>
                <a:cubicBezTo>
                  <a:pt x="3514064" y="0"/>
                  <a:pt x="3514064" y="0"/>
                  <a:pt x="9770376" y="0"/>
                </a:cubicBezTo>
                <a:lnTo>
                  <a:pt x="9770376" y="2754775"/>
                </a:lnTo>
                <a:lnTo>
                  <a:pt x="0" y="2754775"/>
                </a:lnTo>
                <a:lnTo>
                  <a:pt x="12200" y="2696642"/>
                </a:lnTo>
                <a:cubicBezTo>
                  <a:pt x="419422" y="1115950"/>
                  <a:pt x="1846958" y="0"/>
                  <a:pt x="35140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6100" y="2397346"/>
            <a:ext cx="1447800" cy="142734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63940" y="2397346"/>
            <a:ext cx="1219200" cy="14273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7389" y="2472545"/>
            <a:ext cx="1135766" cy="12311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5232" y="2397346"/>
            <a:ext cx="1092708" cy="1427349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5404518" y="3855720"/>
            <a:ext cx="737292" cy="517956"/>
            <a:chOff x="4724400" y="3918586"/>
            <a:chExt cx="861243" cy="605034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7192678" y="3855720"/>
            <a:ext cx="737292" cy="517956"/>
            <a:chOff x="4724400" y="3918586"/>
            <a:chExt cx="861243" cy="605034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9011318" y="3855720"/>
            <a:ext cx="737292" cy="517956"/>
            <a:chOff x="4724400" y="3918586"/>
            <a:chExt cx="861243" cy="605034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0657238" y="3855720"/>
            <a:ext cx="737292" cy="517956"/>
            <a:chOff x="4724400" y="3918586"/>
            <a:chExt cx="861243" cy="605034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0522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10554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90586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60890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814844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0462" y="1423036"/>
            <a:ext cx="5951537" cy="4183090"/>
          </a:xfrm>
          <a:prstGeom prst="rect">
            <a:avLst/>
          </a:prstGeom>
        </p:spPr>
      </p:pic>
      <p:sp>
        <p:nvSpPr>
          <p:cNvPr id="17" name="Freeform 16"/>
          <p:cNvSpPr>
            <a:spLocks/>
          </p:cNvSpPr>
          <p:nvPr/>
        </p:nvSpPr>
        <p:spPr bwMode="auto">
          <a:xfrm rot="10800000" flipH="1">
            <a:off x="6240462" y="4064176"/>
            <a:ext cx="5951537" cy="2793824"/>
          </a:xfrm>
          <a:custGeom>
            <a:avLst/>
            <a:gdLst>
              <a:gd name="connsiteX0" fmla="*/ 5951537 w 5951537"/>
              <a:gd name="connsiteY0" fmla="*/ 2793824 h 2793824"/>
              <a:gd name="connsiteX1" fmla="*/ 5951537 w 5951537"/>
              <a:gd name="connsiteY1" fmla="*/ 372819 h 2793824"/>
              <a:gd name="connsiteX2" fmla="*/ 5951537 w 5951537"/>
              <a:gd name="connsiteY2" fmla="*/ 0 h 2793824"/>
              <a:gd name="connsiteX3" fmla="*/ 0 w 5951537"/>
              <a:gd name="connsiteY3" fmla="*/ 0 h 2793824"/>
              <a:gd name="connsiteX4" fmla="*/ 0 w 5951537"/>
              <a:gd name="connsiteY4" fmla="*/ 171206 h 2793824"/>
              <a:gd name="connsiteX5" fmla="*/ 0 w 5951537"/>
              <a:gd name="connsiteY5" fmla="*/ 1526520 h 2793824"/>
              <a:gd name="connsiteX6" fmla="*/ 2793578 w 5951537"/>
              <a:gd name="connsiteY6" fmla="*/ 2195656 h 2793824"/>
              <a:gd name="connsiteX7" fmla="*/ 5951537 w 5951537"/>
              <a:gd name="connsiteY7" fmla="*/ 2793824 h 2793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51537" h="2793824">
                <a:moveTo>
                  <a:pt x="5951537" y="2793824"/>
                </a:moveTo>
                <a:cubicBezTo>
                  <a:pt x="5951537" y="1846515"/>
                  <a:pt x="5951537" y="1047222"/>
                  <a:pt x="5951537" y="372819"/>
                </a:cubicBezTo>
                <a:lnTo>
                  <a:pt x="5951537" y="0"/>
                </a:lnTo>
                <a:lnTo>
                  <a:pt x="0" y="0"/>
                </a:lnTo>
                <a:lnTo>
                  <a:pt x="0" y="171206"/>
                </a:lnTo>
                <a:cubicBezTo>
                  <a:pt x="0" y="1526520"/>
                  <a:pt x="0" y="1526520"/>
                  <a:pt x="0" y="1526520"/>
                </a:cubicBezTo>
                <a:cubicBezTo>
                  <a:pt x="840098" y="1759704"/>
                  <a:pt x="1771291" y="1982749"/>
                  <a:pt x="2793578" y="2195656"/>
                </a:cubicBezTo>
                <a:cubicBezTo>
                  <a:pt x="3694406" y="2388286"/>
                  <a:pt x="5870564" y="2783685"/>
                  <a:pt x="5951537" y="279382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987" y="1413990"/>
            <a:ext cx="5543551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67398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/>
          <p:cNvSpPr/>
          <p:nvPr userDrawn="1"/>
        </p:nvSpPr>
        <p:spPr>
          <a:xfrm>
            <a:off x="9337692" y="-26986"/>
            <a:ext cx="2854308" cy="5795285"/>
          </a:xfrm>
          <a:custGeom>
            <a:avLst/>
            <a:gdLst>
              <a:gd name="connsiteX0" fmla="*/ 0 w 2854308"/>
              <a:gd name="connsiteY0" fmla="*/ 0 h 5795285"/>
              <a:gd name="connsiteX1" fmla="*/ 2854308 w 2854308"/>
              <a:gd name="connsiteY1" fmla="*/ 0 h 5795285"/>
              <a:gd name="connsiteX2" fmla="*/ 2854308 w 2854308"/>
              <a:gd name="connsiteY2" fmla="*/ 5707955 h 5795285"/>
              <a:gd name="connsiteX3" fmla="*/ 2524513 w 2854308"/>
              <a:gd name="connsiteY3" fmla="*/ 5750975 h 5795285"/>
              <a:gd name="connsiteX4" fmla="*/ 0 w 2854308"/>
              <a:gd name="connsiteY4" fmla="*/ 4639889 h 5795285"/>
              <a:gd name="connsiteX5" fmla="*/ 0 w 2854308"/>
              <a:gd name="connsiteY5" fmla="*/ 0 h 5795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4308" h="5795285">
                <a:moveTo>
                  <a:pt x="0" y="0"/>
                </a:moveTo>
                <a:lnTo>
                  <a:pt x="2854308" y="0"/>
                </a:lnTo>
                <a:lnTo>
                  <a:pt x="2854308" y="5707955"/>
                </a:lnTo>
                <a:lnTo>
                  <a:pt x="2524513" y="5750975"/>
                </a:lnTo>
                <a:cubicBezTo>
                  <a:pt x="1376540" y="5878597"/>
                  <a:pt x="0" y="5793270"/>
                  <a:pt x="0" y="4639889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696200" y="1987868"/>
            <a:ext cx="2379855" cy="449580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610725" y="4322033"/>
            <a:ext cx="13955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  <a:buClr>
                <a:schemeClr val="tx2"/>
              </a:buClr>
            </a:pPr>
            <a:r>
              <a:rPr lang="en-US" sz="2200" b="1">
                <a:solidFill>
                  <a:schemeClr val="bg1"/>
                </a:solidFill>
              </a:rPr>
              <a:t>Lorem Ipsum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9875" y="3233189"/>
            <a:ext cx="1333601" cy="2021093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9152" y="4125514"/>
            <a:ext cx="3473833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93912" y="4125514"/>
            <a:ext cx="3473833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821137" y="1403849"/>
            <a:ext cx="1962875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Chart Placeholder 18">
            <a:extLst>
              <a:ext uri="{FF2B5EF4-FFF2-40B4-BE49-F238E27FC236}">
                <a16:creationId xmlns:a16="http://schemas.microsoft.com/office/drawing/2014/main" id="{1B2F5493-6162-4AC0-BA43-8D7A7C0FA263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44692" y="1429861"/>
            <a:ext cx="7230971" cy="2456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37334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>
          <a:xfrm>
            <a:off x="0" y="3048150"/>
            <a:ext cx="10105936" cy="3809851"/>
          </a:xfrm>
          <a:custGeom>
            <a:avLst/>
            <a:gdLst>
              <a:gd name="connsiteX0" fmla="*/ 0 w 10105936"/>
              <a:gd name="connsiteY0" fmla="*/ 0 h 3809851"/>
              <a:gd name="connsiteX1" fmla="*/ 5362334 w 10105936"/>
              <a:gd name="connsiteY1" fmla="*/ 1015711 h 3809851"/>
              <a:gd name="connsiteX2" fmla="*/ 10105936 w 10105936"/>
              <a:gd name="connsiteY2" fmla="*/ 2151930 h 3809851"/>
              <a:gd name="connsiteX3" fmla="*/ 10105936 w 10105936"/>
              <a:gd name="connsiteY3" fmla="*/ 3601192 h 3809851"/>
              <a:gd name="connsiteX4" fmla="*/ 10105936 w 10105936"/>
              <a:gd name="connsiteY4" fmla="*/ 3809851 h 3809851"/>
              <a:gd name="connsiteX5" fmla="*/ 0 w 10105936"/>
              <a:gd name="connsiteY5" fmla="*/ 3809851 h 3809851"/>
              <a:gd name="connsiteX6" fmla="*/ 0 w 10105936"/>
              <a:gd name="connsiteY6" fmla="*/ 3761009 h 3809851"/>
              <a:gd name="connsiteX7" fmla="*/ 0 w 10105936"/>
              <a:gd name="connsiteY7" fmla="*/ 0 h 3809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105936" h="3809851">
                <a:moveTo>
                  <a:pt x="0" y="0"/>
                </a:moveTo>
                <a:cubicBezTo>
                  <a:pt x="137496" y="17215"/>
                  <a:pt x="3832694" y="688618"/>
                  <a:pt x="5362334" y="1015711"/>
                </a:cubicBezTo>
                <a:cubicBezTo>
                  <a:pt x="7098217" y="1377235"/>
                  <a:pt x="8679418" y="1755975"/>
                  <a:pt x="10105936" y="2151930"/>
                </a:cubicBezTo>
                <a:cubicBezTo>
                  <a:pt x="10105936" y="2151930"/>
                  <a:pt x="10105936" y="2151930"/>
                  <a:pt x="10105936" y="3601192"/>
                </a:cubicBezTo>
                <a:lnTo>
                  <a:pt x="10105936" y="3809851"/>
                </a:lnTo>
                <a:lnTo>
                  <a:pt x="0" y="3809851"/>
                </a:lnTo>
                <a:lnTo>
                  <a:pt x="0" y="3761009"/>
                </a:lnTo>
                <a:cubicBezTo>
                  <a:pt x="0" y="2691837"/>
                  <a:pt x="0" y="1447711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C6B32C-D462-4034-BF1F-AAA2222C84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575" y="2175024"/>
            <a:ext cx="1997273" cy="1997273"/>
          </a:xfrm>
          <a:custGeom>
            <a:avLst/>
            <a:gdLst>
              <a:gd name="connsiteX0" fmla="*/ 1143000 w 2286000"/>
              <a:gd name="connsiteY0" fmla="*/ 0 h 2286000"/>
              <a:gd name="connsiteX1" fmla="*/ 2286000 w 2286000"/>
              <a:gd name="connsiteY1" fmla="*/ 1143000 h 2286000"/>
              <a:gd name="connsiteX2" fmla="*/ 1143000 w 2286000"/>
              <a:gd name="connsiteY2" fmla="*/ 2286000 h 2286000"/>
              <a:gd name="connsiteX3" fmla="*/ 0 w 2286000"/>
              <a:gd name="connsiteY3" fmla="*/ 1143000 h 2286000"/>
              <a:gd name="connsiteX4" fmla="*/ 1143000 w 2286000"/>
              <a:gd name="connsiteY4" fmla="*/ 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00" h="2286000">
                <a:moveTo>
                  <a:pt x="1143000" y="0"/>
                </a:moveTo>
                <a:cubicBezTo>
                  <a:pt x="1774261" y="0"/>
                  <a:pt x="2286000" y="511739"/>
                  <a:pt x="2286000" y="1143000"/>
                </a:cubicBezTo>
                <a:cubicBezTo>
                  <a:pt x="2286000" y="1774261"/>
                  <a:pt x="1774261" y="2286000"/>
                  <a:pt x="1143000" y="2286000"/>
                </a:cubicBezTo>
                <a:cubicBezTo>
                  <a:pt x="511739" y="2286000"/>
                  <a:pt x="0" y="1774261"/>
                  <a:pt x="0" y="1143000"/>
                </a:cubicBezTo>
                <a:cubicBezTo>
                  <a:pt x="0" y="511739"/>
                  <a:pt x="511739" y="0"/>
                  <a:pt x="1143000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9152" y="5423254"/>
            <a:ext cx="9202048" cy="102993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9152" y="4807558"/>
            <a:ext cx="3106048" cy="36044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9152" y="4350358"/>
            <a:ext cx="3106048" cy="36044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3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32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3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8 Sogeti. All rights reserved.</a:t>
            </a:r>
          </a:p>
        </p:txBody>
      </p:sp>
      <p:cxnSp>
        <p:nvCxnSpPr>
          <p:cNvPr id="3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383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 userDrawn="1"/>
        </p:nvSpPr>
        <p:spPr>
          <a:xfrm>
            <a:off x="-9192" y="0"/>
            <a:ext cx="8056297" cy="6858000"/>
          </a:xfrm>
          <a:custGeom>
            <a:avLst/>
            <a:gdLst>
              <a:gd name="connsiteX0" fmla="*/ 0 w 8056297"/>
              <a:gd name="connsiteY0" fmla="*/ 0 h 6858000"/>
              <a:gd name="connsiteX1" fmla="*/ 8056297 w 8056297"/>
              <a:gd name="connsiteY1" fmla="*/ 0 h 6858000"/>
              <a:gd name="connsiteX2" fmla="*/ 8056297 w 8056297"/>
              <a:gd name="connsiteY2" fmla="*/ 223850 h 6858000"/>
              <a:gd name="connsiteX3" fmla="*/ 8056297 w 8056297"/>
              <a:gd name="connsiteY3" fmla="*/ 6587097 h 6858000"/>
              <a:gd name="connsiteX4" fmla="*/ 8056297 w 8056297"/>
              <a:gd name="connsiteY4" fmla="*/ 6858000 h 6858000"/>
              <a:gd name="connsiteX5" fmla="*/ 3114070 w 8056297"/>
              <a:gd name="connsiteY5" fmla="*/ 6858000 h 6858000"/>
              <a:gd name="connsiteX6" fmla="*/ 2935863 w 8056297"/>
              <a:gd name="connsiteY6" fmla="*/ 6807788 h 6858000"/>
              <a:gd name="connsiteX7" fmla="*/ 0 w 8056297"/>
              <a:gd name="connsiteY7" fmla="*/ 2811350 h 6858000"/>
              <a:gd name="connsiteX8" fmla="*/ 0 w 8056297"/>
              <a:gd name="connsiteY8" fmla="*/ 126445 h 6858000"/>
              <a:gd name="connsiteX9" fmla="*/ 0 w 8056297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56297" h="6858000">
                <a:moveTo>
                  <a:pt x="0" y="0"/>
                </a:moveTo>
                <a:lnTo>
                  <a:pt x="8056297" y="0"/>
                </a:lnTo>
                <a:lnTo>
                  <a:pt x="8056297" y="223850"/>
                </a:lnTo>
                <a:cubicBezTo>
                  <a:pt x="8056297" y="1771667"/>
                  <a:pt x="8056297" y="3835422"/>
                  <a:pt x="8056297" y="6587097"/>
                </a:cubicBezTo>
                <a:lnTo>
                  <a:pt x="8056297" y="6858000"/>
                </a:lnTo>
                <a:lnTo>
                  <a:pt x="3114070" y="6858000"/>
                </a:lnTo>
                <a:lnTo>
                  <a:pt x="2935863" y="6807788"/>
                </a:lnTo>
                <a:cubicBezTo>
                  <a:pt x="1205245" y="6277787"/>
                  <a:pt x="0" y="4673939"/>
                  <a:pt x="0" y="2811350"/>
                </a:cubicBezTo>
                <a:cubicBezTo>
                  <a:pt x="0" y="2811350"/>
                  <a:pt x="0" y="2811350"/>
                  <a:pt x="0" y="12644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043649" y="2857117"/>
            <a:ext cx="1316248" cy="3582877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3" name="Picture Placeholder 48">
            <a:extLst>
              <a:ext uri="{FF2B5EF4-FFF2-40B4-BE49-F238E27FC236}">
                <a16:creationId xmlns:a16="http://schemas.microsoft.com/office/drawing/2014/main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0088" y="1412875"/>
            <a:ext cx="630076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57400" y="4495800"/>
            <a:ext cx="4673456" cy="195738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81521" y="1770707"/>
            <a:ext cx="3602492" cy="1277293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81521" y="1424119"/>
            <a:ext cx="3602492" cy="3105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490848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5334000" y="3853580"/>
            <a:ext cx="6873945" cy="3004421"/>
          </a:xfrm>
          <a:custGeom>
            <a:avLst/>
            <a:gdLst>
              <a:gd name="connsiteX0" fmla="*/ 3131715 w 6873945"/>
              <a:gd name="connsiteY0" fmla="*/ 226 h 3004421"/>
              <a:gd name="connsiteX1" fmla="*/ 6873945 w 6873945"/>
              <a:gd name="connsiteY1" fmla="*/ 549103 h 3004421"/>
              <a:gd name="connsiteX2" fmla="*/ 6873945 w 6873945"/>
              <a:gd name="connsiteY2" fmla="*/ 2848107 h 3004421"/>
              <a:gd name="connsiteX3" fmla="*/ 6873945 w 6873945"/>
              <a:gd name="connsiteY3" fmla="*/ 3004421 h 3004421"/>
              <a:gd name="connsiteX4" fmla="*/ 0 w 6873945"/>
              <a:gd name="connsiteY4" fmla="*/ 3004421 h 3004421"/>
              <a:gd name="connsiteX5" fmla="*/ 0 w 6873945"/>
              <a:gd name="connsiteY5" fmla="*/ 2711764 h 3004421"/>
              <a:gd name="connsiteX6" fmla="*/ 0 w 6873945"/>
              <a:gd name="connsiteY6" fmla="*/ 1986869 h 3004421"/>
              <a:gd name="connsiteX7" fmla="*/ 3131715 w 6873945"/>
              <a:gd name="connsiteY7" fmla="*/ 226 h 300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73945" h="3004421">
                <a:moveTo>
                  <a:pt x="3131715" y="226"/>
                </a:moveTo>
                <a:cubicBezTo>
                  <a:pt x="4748449" y="11559"/>
                  <a:pt x="6466935" y="445480"/>
                  <a:pt x="6873945" y="549103"/>
                </a:cubicBezTo>
                <a:cubicBezTo>
                  <a:pt x="6873945" y="549103"/>
                  <a:pt x="6873945" y="549103"/>
                  <a:pt x="6873945" y="2848107"/>
                </a:cubicBezTo>
                <a:lnTo>
                  <a:pt x="6873945" y="3004421"/>
                </a:lnTo>
                <a:lnTo>
                  <a:pt x="0" y="3004421"/>
                </a:lnTo>
                <a:lnTo>
                  <a:pt x="0" y="2711764"/>
                </a:lnTo>
                <a:cubicBezTo>
                  <a:pt x="0" y="2477761"/>
                  <a:pt x="0" y="2236211"/>
                  <a:pt x="0" y="1986869"/>
                </a:cubicBezTo>
                <a:cubicBezTo>
                  <a:pt x="0" y="400145"/>
                  <a:pt x="1514981" y="-11108"/>
                  <a:pt x="3131715" y="2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400" y="836613"/>
            <a:ext cx="4986972" cy="573047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6221413" cy="20912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1" name="Chart Placeholder 18">
            <a:extLst>
              <a:ext uri="{FF2B5EF4-FFF2-40B4-BE49-F238E27FC236}">
                <a16:creationId xmlns:a16="http://schemas.microsoft.com/office/drawing/2014/main" id="{1B2F5493-6162-4AC0-BA43-8D7A7C0FA263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44692" y="3958859"/>
            <a:ext cx="4840287" cy="2456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385733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1430000" cy="494347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99789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97056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0"/>
            <a:ext cx="11016604" cy="8636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57" name="Rectangle 56"/>
          <p:cNvSpPr/>
          <p:nvPr userDrawn="1"/>
        </p:nvSpPr>
        <p:spPr>
          <a:xfrm>
            <a:off x="8839200" y="0"/>
            <a:ext cx="3352800" cy="6858000"/>
          </a:xfrm>
          <a:prstGeom prst="rect">
            <a:avLst/>
          </a:prstGeom>
          <a:gradFill flip="none" rotWithShape="1">
            <a:gsLst>
              <a:gs pos="0">
                <a:srgbClr val="93C855"/>
              </a:gs>
              <a:gs pos="100000">
                <a:srgbClr val="00ABE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424592" y="6523774"/>
            <a:ext cx="3609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59" name="Straight Connector 58"/>
          <p:cNvCxnSpPr>
            <a:stCxn id="63" idx="0"/>
          </p:cNvCxnSpPr>
          <p:nvPr userDrawn="1"/>
        </p:nvCxnSpPr>
        <p:spPr>
          <a:xfrm>
            <a:off x="642519" y="6388938"/>
            <a:ext cx="8196681" cy="0"/>
          </a:xfrm>
          <a:prstGeom prst="line">
            <a:avLst/>
          </a:prstGeom>
          <a:ln w="9525">
            <a:solidFill>
              <a:srgbClr val="00AB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821338" y="6553708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Arc 62"/>
          <p:cNvSpPr/>
          <p:nvPr userDrawn="1"/>
        </p:nvSpPr>
        <p:spPr>
          <a:xfrm flipH="1">
            <a:off x="407988" y="6388938"/>
            <a:ext cx="469062" cy="469062"/>
          </a:xfrm>
          <a:prstGeom prst="arc">
            <a:avLst/>
          </a:prstGeom>
          <a:ln w="9525">
            <a:solidFill>
              <a:srgbClr val="00AB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Connector 63"/>
          <p:cNvCxnSpPr/>
          <p:nvPr userDrawn="1"/>
        </p:nvCxnSpPr>
        <p:spPr>
          <a:xfrm>
            <a:off x="8839200" y="6388938"/>
            <a:ext cx="2955447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/>
          <p:cNvSpPr/>
          <p:nvPr userDrawn="1"/>
        </p:nvSpPr>
        <p:spPr>
          <a:xfrm>
            <a:off x="9982200" y="6197598"/>
            <a:ext cx="381000" cy="381000"/>
          </a:xfrm>
          <a:prstGeom prst="ellipse">
            <a:avLst/>
          </a:prstGeom>
          <a:solidFill>
            <a:srgbClr val="00ABE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/>
          <p:cNvSpPr/>
          <p:nvPr userDrawn="1"/>
        </p:nvSpPr>
        <p:spPr>
          <a:xfrm>
            <a:off x="10553700" y="6197598"/>
            <a:ext cx="381000" cy="381000"/>
          </a:xfrm>
          <a:prstGeom prst="ellipse">
            <a:avLst/>
          </a:prstGeom>
          <a:solidFill>
            <a:srgbClr val="00ABE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 userDrawn="1"/>
        </p:nvSpPr>
        <p:spPr>
          <a:xfrm>
            <a:off x="11125200" y="6197598"/>
            <a:ext cx="381000" cy="381000"/>
          </a:xfrm>
          <a:prstGeom prst="ellipse">
            <a:avLst/>
          </a:prstGeom>
          <a:solidFill>
            <a:srgbClr val="00ABE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e 617"/>
          <p:cNvGrpSpPr/>
          <p:nvPr userDrawn="1"/>
        </p:nvGrpSpPr>
        <p:grpSpPr>
          <a:xfrm>
            <a:off x="10594635" y="6309781"/>
            <a:ext cx="301965" cy="190969"/>
            <a:chOff x="3868714" y="2093714"/>
            <a:chExt cx="331788" cy="214313"/>
          </a:xfrm>
          <a:noFill/>
        </p:grpSpPr>
        <p:sp>
          <p:nvSpPr>
            <p:cNvPr id="69" name="Freeform 798"/>
            <p:cNvSpPr>
              <a:spLocks/>
            </p:cNvSpPr>
            <p:nvPr/>
          </p:nvSpPr>
          <p:spPr bwMode="auto">
            <a:xfrm>
              <a:off x="3868714" y="2206427"/>
              <a:ext cx="165100" cy="101600"/>
            </a:xfrm>
            <a:custGeom>
              <a:avLst/>
              <a:gdLst/>
              <a:ahLst/>
              <a:cxnLst>
                <a:cxn ang="0">
                  <a:pos x="100" y="47"/>
                </a:cxn>
                <a:cxn ang="0">
                  <a:pos x="100" y="47"/>
                </a:cxn>
                <a:cxn ang="0">
                  <a:pos x="103" y="50"/>
                </a:cxn>
                <a:cxn ang="0">
                  <a:pos x="104" y="54"/>
                </a:cxn>
                <a:cxn ang="0">
                  <a:pos x="103" y="57"/>
                </a:cxn>
                <a:cxn ang="0">
                  <a:pos x="100" y="60"/>
                </a:cxn>
                <a:cxn ang="0">
                  <a:pos x="100" y="60"/>
                </a:cxn>
                <a:cxn ang="0">
                  <a:pos x="100" y="60"/>
                </a:cxn>
                <a:cxn ang="0">
                  <a:pos x="98" y="63"/>
                </a:cxn>
                <a:cxn ang="0">
                  <a:pos x="94" y="64"/>
                </a:cxn>
                <a:cxn ang="0">
                  <a:pos x="90" y="63"/>
                </a:cxn>
                <a:cxn ang="0">
                  <a:pos x="88" y="60"/>
                </a:cxn>
                <a:cxn ang="0">
                  <a:pos x="88" y="60"/>
                </a:cxn>
                <a:cxn ang="0">
                  <a:pos x="67" y="38"/>
                </a:cxn>
                <a:cxn ang="0">
                  <a:pos x="51" y="21"/>
                </a:cxn>
                <a:cxn ang="0">
                  <a:pos x="42" y="14"/>
                </a:cxn>
                <a:cxn ang="0">
                  <a:pos x="36" y="9"/>
                </a:cxn>
                <a:cxn ang="0">
                  <a:pos x="36" y="9"/>
                </a:cxn>
                <a:cxn ang="0">
                  <a:pos x="29" y="7"/>
                </a:cxn>
                <a:cxn ang="0">
                  <a:pos x="22" y="4"/>
                </a:cxn>
                <a:cxn ang="0">
                  <a:pos x="12" y="2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104" h="64">
                  <a:moveTo>
                    <a:pt x="100" y="47"/>
                  </a:moveTo>
                  <a:lnTo>
                    <a:pt x="100" y="47"/>
                  </a:lnTo>
                  <a:lnTo>
                    <a:pt x="103" y="50"/>
                  </a:lnTo>
                  <a:lnTo>
                    <a:pt x="104" y="54"/>
                  </a:lnTo>
                  <a:lnTo>
                    <a:pt x="103" y="57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98" y="63"/>
                  </a:lnTo>
                  <a:lnTo>
                    <a:pt x="94" y="64"/>
                  </a:lnTo>
                  <a:lnTo>
                    <a:pt x="90" y="63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67" y="38"/>
                  </a:lnTo>
                  <a:lnTo>
                    <a:pt x="51" y="21"/>
                  </a:lnTo>
                  <a:lnTo>
                    <a:pt x="42" y="14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29" y="7"/>
                  </a:lnTo>
                  <a:lnTo>
                    <a:pt x="22" y="4"/>
                  </a:lnTo>
                  <a:lnTo>
                    <a:pt x="12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99"/>
            <p:cNvSpPr>
              <a:spLocks/>
            </p:cNvSpPr>
            <p:nvPr/>
          </p:nvSpPr>
          <p:spPr bwMode="auto">
            <a:xfrm>
              <a:off x="3986189" y="2214364"/>
              <a:ext cx="74613" cy="7778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7" y="35"/>
                </a:cxn>
                <a:cxn ang="0">
                  <a:pos x="47" y="39"/>
                </a:cxn>
                <a:cxn ang="0">
                  <a:pos x="47" y="42"/>
                </a:cxn>
                <a:cxn ang="0">
                  <a:pos x="44" y="46"/>
                </a:cxn>
                <a:cxn ang="0">
                  <a:pos x="44" y="46"/>
                </a:cxn>
                <a:cxn ang="0">
                  <a:pos x="44" y="46"/>
                </a:cxn>
                <a:cxn ang="0">
                  <a:pos x="42" y="47"/>
                </a:cxn>
                <a:cxn ang="0">
                  <a:pos x="38" y="49"/>
                </a:cxn>
                <a:cxn ang="0">
                  <a:pos x="34" y="47"/>
                </a:cxn>
                <a:cxn ang="0">
                  <a:pos x="30" y="46"/>
                </a:cxn>
                <a:cxn ang="0">
                  <a:pos x="0" y="14"/>
                </a:cxn>
              </a:cxnLst>
              <a:rect l="0" t="0" r="r" b="b"/>
              <a:pathLst>
                <a:path w="47" h="49">
                  <a:moveTo>
                    <a:pt x="12" y="0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7" y="35"/>
                  </a:lnTo>
                  <a:lnTo>
                    <a:pt x="47" y="39"/>
                  </a:lnTo>
                  <a:lnTo>
                    <a:pt x="47" y="42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2" y="47"/>
                  </a:lnTo>
                  <a:lnTo>
                    <a:pt x="38" y="49"/>
                  </a:lnTo>
                  <a:lnTo>
                    <a:pt x="34" y="47"/>
                  </a:lnTo>
                  <a:lnTo>
                    <a:pt x="30" y="46"/>
                  </a:lnTo>
                  <a:lnTo>
                    <a:pt x="0" y="14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00"/>
            <p:cNvSpPr>
              <a:spLocks/>
            </p:cNvSpPr>
            <p:nvPr/>
          </p:nvSpPr>
          <p:spPr bwMode="auto">
            <a:xfrm>
              <a:off x="4027464" y="2166739"/>
              <a:ext cx="96838" cy="103188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59" y="48"/>
                </a:cxn>
                <a:cxn ang="0">
                  <a:pos x="59" y="48"/>
                </a:cxn>
                <a:cxn ang="0">
                  <a:pos x="61" y="51"/>
                </a:cxn>
                <a:cxn ang="0">
                  <a:pos x="61" y="55"/>
                </a:cxn>
                <a:cxn ang="0">
                  <a:pos x="61" y="58"/>
                </a:cxn>
                <a:cxn ang="0">
                  <a:pos x="59" y="62"/>
                </a:cxn>
                <a:cxn ang="0">
                  <a:pos x="59" y="62"/>
                </a:cxn>
                <a:cxn ang="0">
                  <a:pos x="59" y="62"/>
                </a:cxn>
                <a:cxn ang="0">
                  <a:pos x="56" y="63"/>
                </a:cxn>
                <a:cxn ang="0">
                  <a:pos x="52" y="65"/>
                </a:cxn>
                <a:cxn ang="0">
                  <a:pos x="49" y="63"/>
                </a:cxn>
                <a:cxn ang="0">
                  <a:pos x="45" y="62"/>
                </a:cxn>
                <a:cxn ang="0">
                  <a:pos x="0" y="17"/>
                </a:cxn>
              </a:cxnLst>
              <a:rect l="0" t="0" r="r" b="b"/>
              <a:pathLst>
                <a:path w="61" h="65">
                  <a:moveTo>
                    <a:pt x="21" y="0"/>
                  </a:moveTo>
                  <a:lnTo>
                    <a:pt x="59" y="48"/>
                  </a:lnTo>
                  <a:lnTo>
                    <a:pt x="59" y="48"/>
                  </a:lnTo>
                  <a:lnTo>
                    <a:pt x="61" y="51"/>
                  </a:lnTo>
                  <a:lnTo>
                    <a:pt x="61" y="55"/>
                  </a:lnTo>
                  <a:lnTo>
                    <a:pt x="61" y="58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6" y="63"/>
                  </a:lnTo>
                  <a:lnTo>
                    <a:pt x="52" y="65"/>
                  </a:lnTo>
                  <a:lnTo>
                    <a:pt x="49" y="63"/>
                  </a:lnTo>
                  <a:lnTo>
                    <a:pt x="45" y="62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01"/>
            <p:cNvSpPr>
              <a:spLocks/>
            </p:cNvSpPr>
            <p:nvPr/>
          </p:nvSpPr>
          <p:spPr bwMode="auto">
            <a:xfrm>
              <a:off x="3951264" y="2103239"/>
              <a:ext cx="249238" cy="80963"/>
            </a:xfrm>
            <a:custGeom>
              <a:avLst/>
              <a:gdLst/>
              <a:ahLst/>
              <a:cxnLst>
                <a:cxn ang="0">
                  <a:pos x="157" y="7"/>
                </a:cxn>
                <a:cxn ang="0">
                  <a:pos x="157" y="7"/>
                </a:cxn>
                <a:cxn ang="0">
                  <a:pos x="143" y="15"/>
                </a:cxn>
                <a:cxn ang="0">
                  <a:pos x="132" y="19"/>
                </a:cxn>
                <a:cxn ang="0">
                  <a:pos x="126" y="21"/>
                </a:cxn>
                <a:cxn ang="0">
                  <a:pos x="122" y="21"/>
                </a:cxn>
                <a:cxn ang="0">
                  <a:pos x="122" y="21"/>
                </a:cxn>
                <a:cxn ang="0">
                  <a:pos x="116" y="20"/>
                </a:cxn>
                <a:cxn ang="0">
                  <a:pos x="108" y="17"/>
                </a:cxn>
                <a:cxn ang="0">
                  <a:pos x="93" y="10"/>
                </a:cxn>
                <a:cxn ang="0">
                  <a:pos x="79" y="3"/>
                </a:cxn>
                <a:cxn ang="0">
                  <a:pos x="71" y="1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60" y="0"/>
                </a:cxn>
                <a:cxn ang="0">
                  <a:pos x="51" y="3"/>
                </a:cxn>
                <a:cxn ang="0">
                  <a:pos x="32" y="11"/>
                </a:cxn>
                <a:cxn ang="0">
                  <a:pos x="7" y="24"/>
                </a:cxn>
                <a:cxn ang="0">
                  <a:pos x="7" y="24"/>
                </a:cxn>
                <a:cxn ang="0">
                  <a:pos x="3" y="26"/>
                </a:cxn>
                <a:cxn ang="0">
                  <a:pos x="1" y="29"/>
                </a:cxn>
                <a:cxn ang="0">
                  <a:pos x="0" y="32"/>
                </a:cxn>
                <a:cxn ang="0">
                  <a:pos x="1" y="36"/>
                </a:cxn>
                <a:cxn ang="0">
                  <a:pos x="1" y="36"/>
                </a:cxn>
                <a:cxn ang="0">
                  <a:pos x="1" y="36"/>
                </a:cxn>
                <a:cxn ang="0">
                  <a:pos x="4" y="40"/>
                </a:cxn>
                <a:cxn ang="0">
                  <a:pos x="7" y="41"/>
                </a:cxn>
                <a:cxn ang="0">
                  <a:pos x="10" y="43"/>
                </a:cxn>
                <a:cxn ang="0">
                  <a:pos x="14" y="41"/>
                </a:cxn>
                <a:cxn ang="0">
                  <a:pos x="53" y="26"/>
                </a:cxn>
                <a:cxn ang="0">
                  <a:pos x="53" y="26"/>
                </a:cxn>
                <a:cxn ang="0">
                  <a:pos x="57" y="29"/>
                </a:cxn>
                <a:cxn ang="0">
                  <a:pos x="65" y="36"/>
                </a:cxn>
                <a:cxn ang="0">
                  <a:pos x="76" y="45"/>
                </a:cxn>
                <a:cxn ang="0">
                  <a:pos x="83" y="48"/>
                </a:cxn>
                <a:cxn ang="0">
                  <a:pos x="89" y="50"/>
                </a:cxn>
                <a:cxn ang="0">
                  <a:pos x="89" y="50"/>
                </a:cxn>
                <a:cxn ang="0">
                  <a:pos x="98" y="51"/>
                </a:cxn>
                <a:cxn ang="0">
                  <a:pos x="104" y="50"/>
                </a:cxn>
                <a:cxn ang="0">
                  <a:pos x="110" y="49"/>
                </a:cxn>
              </a:cxnLst>
              <a:rect l="0" t="0" r="r" b="b"/>
              <a:pathLst>
                <a:path w="157" h="51">
                  <a:moveTo>
                    <a:pt x="157" y="7"/>
                  </a:moveTo>
                  <a:lnTo>
                    <a:pt x="157" y="7"/>
                  </a:lnTo>
                  <a:lnTo>
                    <a:pt x="143" y="15"/>
                  </a:lnTo>
                  <a:lnTo>
                    <a:pt x="132" y="19"/>
                  </a:lnTo>
                  <a:lnTo>
                    <a:pt x="126" y="21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16" y="20"/>
                  </a:lnTo>
                  <a:lnTo>
                    <a:pt x="108" y="17"/>
                  </a:lnTo>
                  <a:lnTo>
                    <a:pt x="93" y="10"/>
                  </a:lnTo>
                  <a:lnTo>
                    <a:pt x="79" y="3"/>
                  </a:lnTo>
                  <a:lnTo>
                    <a:pt x="71" y="1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51" y="3"/>
                  </a:lnTo>
                  <a:lnTo>
                    <a:pt x="32" y="11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3" y="26"/>
                  </a:lnTo>
                  <a:lnTo>
                    <a:pt x="1" y="29"/>
                  </a:lnTo>
                  <a:lnTo>
                    <a:pt x="0" y="32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4" y="40"/>
                  </a:lnTo>
                  <a:lnTo>
                    <a:pt x="7" y="41"/>
                  </a:lnTo>
                  <a:lnTo>
                    <a:pt x="10" y="43"/>
                  </a:lnTo>
                  <a:lnTo>
                    <a:pt x="14" y="4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7" y="29"/>
                  </a:lnTo>
                  <a:lnTo>
                    <a:pt x="65" y="36"/>
                  </a:lnTo>
                  <a:lnTo>
                    <a:pt x="76" y="45"/>
                  </a:lnTo>
                  <a:lnTo>
                    <a:pt x="83" y="48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98" y="51"/>
                  </a:lnTo>
                  <a:lnTo>
                    <a:pt x="104" y="50"/>
                  </a:lnTo>
                  <a:lnTo>
                    <a:pt x="110" y="49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802"/>
            <p:cNvSpPr>
              <a:spLocks/>
            </p:cNvSpPr>
            <p:nvPr/>
          </p:nvSpPr>
          <p:spPr bwMode="auto">
            <a:xfrm>
              <a:off x="4060801" y="2247702"/>
              <a:ext cx="25400" cy="2540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4" y="0"/>
                </a:cxn>
                <a:cxn ang="0">
                  <a:pos x="16" y="4"/>
                </a:cxn>
                <a:cxn ang="0">
                  <a:pos x="16" y="7"/>
                </a:cxn>
                <a:cxn ang="0">
                  <a:pos x="16" y="10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0" y="16"/>
                </a:cxn>
                <a:cxn ang="0">
                  <a:pos x="7" y="16"/>
                </a:cxn>
                <a:cxn ang="0">
                  <a:pos x="3" y="16"/>
                </a:cxn>
                <a:cxn ang="0">
                  <a:pos x="0" y="14"/>
                </a:cxn>
              </a:cxnLst>
              <a:rect l="0" t="0" r="r" b="b"/>
              <a:pathLst>
                <a:path w="16" h="16">
                  <a:moveTo>
                    <a:pt x="14" y="0"/>
                  </a:moveTo>
                  <a:lnTo>
                    <a:pt x="14" y="0"/>
                  </a:lnTo>
                  <a:lnTo>
                    <a:pt x="16" y="4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3" y="16"/>
                  </a:lnTo>
                  <a:lnTo>
                    <a:pt x="0" y="14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803"/>
            <p:cNvSpPr>
              <a:spLocks/>
            </p:cNvSpPr>
            <p:nvPr/>
          </p:nvSpPr>
          <p:spPr bwMode="auto">
            <a:xfrm>
              <a:off x="4117951" y="2204839"/>
              <a:ext cx="82550" cy="3016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19"/>
                </a:cxn>
                <a:cxn ang="0">
                  <a:pos x="7" y="18"/>
                </a:cxn>
                <a:cxn ang="0">
                  <a:pos x="22" y="15"/>
                </a:cxn>
                <a:cxn ang="0">
                  <a:pos x="31" y="13"/>
                </a:cxn>
                <a:cxn ang="0">
                  <a:pos x="40" y="10"/>
                </a:cxn>
                <a:cxn ang="0">
                  <a:pos x="47" y="5"/>
                </a:cxn>
                <a:cxn ang="0">
                  <a:pos x="52" y="0"/>
                </a:cxn>
              </a:cxnLst>
              <a:rect l="0" t="0" r="r" b="b"/>
              <a:pathLst>
                <a:path w="52" h="19">
                  <a:moveTo>
                    <a:pt x="0" y="19"/>
                  </a:moveTo>
                  <a:lnTo>
                    <a:pt x="0" y="19"/>
                  </a:lnTo>
                  <a:lnTo>
                    <a:pt x="7" y="18"/>
                  </a:lnTo>
                  <a:lnTo>
                    <a:pt x="22" y="15"/>
                  </a:lnTo>
                  <a:lnTo>
                    <a:pt x="31" y="13"/>
                  </a:lnTo>
                  <a:lnTo>
                    <a:pt x="40" y="10"/>
                  </a:lnTo>
                  <a:lnTo>
                    <a:pt x="47" y="5"/>
                  </a:lnTo>
                  <a:lnTo>
                    <a:pt x="52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804"/>
            <p:cNvSpPr>
              <a:spLocks/>
            </p:cNvSpPr>
            <p:nvPr/>
          </p:nvSpPr>
          <p:spPr bwMode="auto">
            <a:xfrm>
              <a:off x="3884589" y="2093714"/>
              <a:ext cx="134938" cy="190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3" y="0"/>
                </a:cxn>
                <a:cxn ang="0">
                  <a:pos x="27" y="0"/>
                </a:cxn>
                <a:cxn ang="0">
                  <a:pos x="42" y="2"/>
                </a:cxn>
                <a:cxn ang="0">
                  <a:pos x="55" y="4"/>
                </a:cxn>
                <a:cxn ang="0">
                  <a:pos x="76" y="9"/>
                </a:cxn>
                <a:cxn ang="0">
                  <a:pos x="85" y="12"/>
                </a:cxn>
              </a:cxnLst>
              <a:rect l="0" t="0" r="r" b="b"/>
              <a:pathLst>
                <a:path w="85" h="12">
                  <a:moveTo>
                    <a:pt x="0" y="2"/>
                  </a:moveTo>
                  <a:lnTo>
                    <a:pt x="0" y="2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42" y="2"/>
                  </a:lnTo>
                  <a:lnTo>
                    <a:pt x="55" y="4"/>
                  </a:lnTo>
                  <a:lnTo>
                    <a:pt x="76" y="9"/>
                  </a:lnTo>
                  <a:lnTo>
                    <a:pt x="85" y="1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75"/>
          <p:cNvGrpSpPr/>
          <p:nvPr userDrawn="1"/>
        </p:nvGrpSpPr>
        <p:grpSpPr>
          <a:xfrm>
            <a:off x="10029825" y="6269642"/>
            <a:ext cx="285751" cy="250850"/>
            <a:chOff x="4941173" y="5406320"/>
            <a:chExt cx="780524" cy="685196"/>
          </a:xfrm>
          <a:noFill/>
        </p:grpSpPr>
        <p:grpSp>
          <p:nvGrpSpPr>
            <p:cNvPr id="77" name="Group 128"/>
            <p:cNvGrpSpPr>
              <a:grpSpLocks noChangeAspect="1"/>
            </p:cNvGrpSpPr>
            <p:nvPr/>
          </p:nvGrpSpPr>
          <p:grpSpPr>
            <a:xfrm>
              <a:off x="5051876" y="5406320"/>
              <a:ext cx="667934" cy="389884"/>
              <a:chOff x="27743138" y="6211893"/>
              <a:chExt cx="1139526" cy="665163"/>
            </a:xfrm>
            <a:grpFill/>
          </p:grpSpPr>
          <p:sp>
            <p:nvSpPr>
              <p:cNvPr id="79" name="Freeform 4138"/>
              <p:cNvSpPr>
                <a:spLocks/>
              </p:cNvSpPr>
              <p:nvPr/>
            </p:nvSpPr>
            <p:spPr bwMode="auto">
              <a:xfrm>
                <a:off x="27743138" y="6211893"/>
                <a:ext cx="576263" cy="665163"/>
              </a:xfrm>
              <a:custGeom>
                <a:avLst/>
                <a:gdLst/>
                <a:ahLst/>
                <a:cxnLst>
                  <a:cxn ang="0">
                    <a:pos x="133" y="101"/>
                  </a:cxn>
                  <a:cxn ang="0">
                    <a:pos x="112" y="80"/>
                  </a:cxn>
                  <a:cxn ang="0">
                    <a:pos x="133" y="59"/>
                  </a:cxn>
                  <a:cxn ang="0">
                    <a:pos x="134" y="59"/>
                  </a:cxn>
                  <a:cxn ang="0">
                    <a:pos x="134" y="55"/>
                  </a:cxn>
                  <a:cxn ang="0">
                    <a:pos x="119" y="39"/>
                  </a:cxn>
                  <a:cxn ang="0">
                    <a:pos x="95" y="39"/>
                  </a:cxn>
                  <a:cxn ang="0">
                    <a:pos x="95" y="36"/>
                  </a:cxn>
                  <a:cxn ang="0">
                    <a:pos x="9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70" y="18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79" y="39"/>
                  </a:cxn>
                  <a:cxn ang="0">
                    <a:pos x="54" y="39"/>
                  </a:cxn>
                  <a:cxn ang="0">
                    <a:pos x="38" y="55"/>
                  </a:cxn>
                  <a:cxn ang="0">
                    <a:pos x="38" y="67"/>
                  </a:cxn>
                  <a:cxn ang="0">
                    <a:pos x="36" y="67"/>
                  </a:cxn>
                  <a:cxn ang="0">
                    <a:pos x="34" y="67"/>
                  </a:cxn>
                  <a:cxn ang="0">
                    <a:pos x="17" y="56"/>
                  </a:cxn>
                  <a:cxn ang="0">
                    <a:pos x="0" y="74"/>
                  </a:cxn>
                  <a:cxn ang="0">
                    <a:pos x="17" y="92"/>
                  </a:cxn>
                  <a:cxn ang="0">
                    <a:pos x="33" y="83"/>
                  </a:cxn>
                  <a:cxn ang="0">
                    <a:pos x="36" y="84"/>
                  </a:cxn>
                  <a:cxn ang="0">
                    <a:pos x="38" y="84"/>
                  </a:cxn>
                  <a:cxn ang="0">
                    <a:pos x="38" y="101"/>
                  </a:cxn>
                  <a:cxn ang="0">
                    <a:pos x="54" y="117"/>
                  </a:cxn>
                  <a:cxn ang="0">
                    <a:pos x="100" y="117"/>
                  </a:cxn>
                  <a:cxn ang="0">
                    <a:pos x="100" y="119"/>
                  </a:cxn>
                  <a:cxn ang="0">
                    <a:pos x="100" y="120"/>
                  </a:cxn>
                  <a:cxn ang="0">
                    <a:pos x="89" y="137"/>
                  </a:cxn>
                  <a:cxn ang="0">
                    <a:pos x="107" y="155"/>
                  </a:cxn>
                  <a:cxn ang="0">
                    <a:pos x="125" y="137"/>
                  </a:cxn>
                  <a:cxn ang="0">
                    <a:pos x="116" y="121"/>
                  </a:cxn>
                  <a:cxn ang="0">
                    <a:pos x="116" y="119"/>
                  </a:cxn>
                  <a:cxn ang="0">
                    <a:pos x="116" y="117"/>
                  </a:cxn>
                  <a:cxn ang="0">
                    <a:pos x="119" y="117"/>
                  </a:cxn>
                  <a:cxn ang="0">
                    <a:pos x="134" y="101"/>
                  </a:cxn>
                  <a:cxn ang="0">
                    <a:pos x="134" y="101"/>
                  </a:cxn>
                  <a:cxn ang="0">
                    <a:pos x="133" y="101"/>
                  </a:cxn>
                </a:cxnLst>
                <a:rect l="0" t="0" r="r" b="b"/>
                <a:pathLst>
                  <a:path w="134" h="155">
                    <a:moveTo>
                      <a:pt x="133" y="101"/>
                    </a:moveTo>
                    <a:cubicBezTo>
                      <a:pt x="122" y="101"/>
                      <a:pt x="112" y="92"/>
                      <a:pt x="112" y="80"/>
                    </a:cubicBezTo>
                    <a:cubicBezTo>
                      <a:pt x="112" y="68"/>
                      <a:pt x="122" y="59"/>
                      <a:pt x="133" y="59"/>
                    </a:cubicBezTo>
                    <a:cubicBezTo>
                      <a:pt x="134" y="59"/>
                      <a:pt x="134" y="59"/>
                      <a:pt x="134" y="59"/>
                    </a:cubicBezTo>
                    <a:cubicBezTo>
                      <a:pt x="134" y="55"/>
                      <a:pt x="134" y="55"/>
                      <a:pt x="134" y="55"/>
                    </a:cubicBezTo>
                    <a:cubicBezTo>
                      <a:pt x="134" y="46"/>
                      <a:pt x="127" y="39"/>
                      <a:pt x="119" y="39"/>
                    </a:cubicBezTo>
                    <a:cubicBezTo>
                      <a:pt x="95" y="39"/>
                      <a:pt x="95" y="39"/>
                      <a:pt x="95" y="39"/>
                    </a:cubicBezTo>
                    <a:cubicBezTo>
                      <a:pt x="95" y="36"/>
                      <a:pt x="95" y="36"/>
                      <a:pt x="95" y="36"/>
                    </a:cubicBezTo>
                    <a:cubicBezTo>
                      <a:pt x="95" y="35"/>
                      <a:pt x="95" y="35"/>
                      <a:pt x="95" y="34"/>
                    </a:cubicBezTo>
                    <a:cubicBezTo>
                      <a:pt x="102" y="32"/>
                      <a:pt x="106" y="25"/>
                      <a:pt x="106" y="18"/>
                    </a:cubicBezTo>
                    <a:cubicBezTo>
                      <a:pt x="106" y="8"/>
                      <a:pt x="98" y="0"/>
                      <a:pt x="88" y="0"/>
                    </a:cubicBezTo>
                    <a:cubicBezTo>
                      <a:pt x="78" y="0"/>
                      <a:pt x="70" y="8"/>
                      <a:pt x="70" y="18"/>
                    </a:cubicBezTo>
                    <a:cubicBezTo>
                      <a:pt x="70" y="25"/>
                      <a:pt x="74" y="30"/>
                      <a:pt x="79" y="33"/>
                    </a:cubicBezTo>
                    <a:cubicBezTo>
                      <a:pt x="79" y="34"/>
                      <a:pt x="79" y="35"/>
                      <a:pt x="79" y="36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45" y="39"/>
                      <a:pt x="38" y="46"/>
                      <a:pt x="38" y="55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5" y="67"/>
                      <a:pt x="35" y="67"/>
                      <a:pt x="34" y="67"/>
                    </a:cubicBezTo>
                    <a:cubicBezTo>
                      <a:pt x="31" y="61"/>
                      <a:pt x="25" y="56"/>
                      <a:pt x="17" y="56"/>
                    </a:cubicBezTo>
                    <a:cubicBezTo>
                      <a:pt x="8" y="56"/>
                      <a:pt x="0" y="64"/>
                      <a:pt x="0" y="74"/>
                    </a:cubicBezTo>
                    <a:cubicBezTo>
                      <a:pt x="0" y="84"/>
                      <a:pt x="8" y="92"/>
                      <a:pt x="17" y="92"/>
                    </a:cubicBezTo>
                    <a:cubicBezTo>
                      <a:pt x="24" y="92"/>
                      <a:pt x="30" y="89"/>
                      <a:pt x="33" y="83"/>
                    </a:cubicBezTo>
                    <a:cubicBezTo>
                      <a:pt x="34" y="84"/>
                      <a:pt x="35" y="84"/>
                      <a:pt x="36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8" y="110"/>
                      <a:pt x="45" y="117"/>
                      <a:pt x="54" y="117"/>
                    </a:cubicBezTo>
                    <a:cubicBezTo>
                      <a:pt x="100" y="117"/>
                      <a:pt x="100" y="117"/>
                      <a:pt x="100" y="117"/>
                    </a:cubicBezTo>
                    <a:cubicBezTo>
                      <a:pt x="100" y="119"/>
                      <a:pt x="100" y="119"/>
                      <a:pt x="100" y="119"/>
                    </a:cubicBezTo>
                    <a:cubicBezTo>
                      <a:pt x="100" y="119"/>
                      <a:pt x="100" y="120"/>
                      <a:pt x="100" y="120"/>
                    </a:cubicBezTo>
                    <a:cubicBezTo>
                      <a:pt x="93" y="123"/>
                      <a:pt x="89" y="130"/>
                      <a:pt x="89" y="137"/>
                    </a:cubicBezTo>
                    <a:cubicBezTo>
                      <a:pt x="89" y="147"/>
                      <a:pt x="97" y="155"/>
                      <a:pt x="107" y="155"/>
                    </a:cubicBezTo>
                    <a:cubicBezTo>
                      <a:pt x="117" y="155"/>
                      <a:pt x="125" y="147"/>
                      <a:pt x="125" y="137"/>
                    </a:cubicBezTo>
                    <a:cubicBezTo>
                      <a:pt x="125" y="130"/>
                      <a:pt x="121" y="125"/>
                      <a:pt x="116" y="121"/>
                    </a:cubicBezTo>
                    <a:cubicBezTo>
                      <a:pt x="116" y="121"/>
                      <a:pt x="116" y="120"/>
                      <a:pt x="116" y="119"/>
                    </a:cubicBezTo>
                    <a:cubicBezTo>
                      <a:pt x="116" y="117"/>
                      <a:pt x="116" y="117"/>
                      <a:pt x="116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27" y="117"/>
                      <a:pt x="134" y="110"/>
                      <a:pt x="134" y="101"/>
                    </a:cubicBezTo>
                    <a:cubicBezTo>
                      <a:pt x="134" y="101"/>
                      <a:pt x="134" y="101"/>
                      <a:pt x="134" y="101"/>
                    </a:cubicBezTo>
                    <a:cubicBezTo>
                      <a:pt x="134" y="101"/>
                      <a:pt x="134" y="101"/>
                      <a:pt x="133" y="101"/>
                    </a:cubicBezTo>
                    <a:close/>
                  </a:path>
                </a:pathLst>
              </a:custGeom>
              <a:grp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80" name="Freeform 4139"/>
              <p:cNvSpPr>
                <a:spLocks/>
              </p:cNvSpPr>
              <p:nvPr/>
            </p:nvSpPr>
            <p:spPr bwMode="auto">
              <a:xfrm>
                <a:off x="28303226" y="6237288"/>
                <a:ext cx="579438" cy="501650"/>
              </a:xfrm>
              <a:custGeom>
                <a:avLst/>
                <a:gdLst/>
                <a:ahLst/>
                <a:cxnLst>
                  <a:cxn ang="0">
                    <a:pos x="119" y="39"/>
                  </a:cxn>
                  <a:cxn ang="0">
                    <a:pos x="96" y="39"/>
                  </a:cxn>
                  <a:cxn ang="0">
                    <a:pos x="96" y="36"/>
                  </a:cxn>
                  <a:cxn ang="0">
                    <a:pos x="9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70" y="18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79" y="39"/>
                  </a:cxn>
                  <a:cxn ang="0">
                    <a:pos x="54" y="39"/>
                  </a:cxn>
                  <a:cxn ang="0">
                    <a:pos x="38" y="55"/>
                  </a:cxn>
                  <a:cxn ang="0">
                    <a:pos x="38" y="67"/>
                  </a:cxn>
                  <a:cxn ang="0">
                    <a:pos x="36" y="67"/>
                  </a:cxn>
                  <a:cxn ang="0">
                    <a:pos x="34" y="67"/>
                  </a:cxn>
                  <a:cxn ang="0">
                    <a:pos x="18" y="56"/>
                  </a:cxn>
                  <a:cxn ang="0">
                    <a:pos x="0" y="74"/>
                  </a:cxn>
                  <a:cxn ang="0">
                    <a:pos x="18" y="92"/>
                  </a:cxn>
                  <a:cxn ang="0">
                    <a:pos x="33" y="83"/>
                  </a:cxn>
                  <a:cxn ang="0">
                    <a:pos x="36" y="84"/>
                  </a:cxn>
                  <a:cxn ang="0">
                    <a:pos x="38" y="84"/>
                  </a:cxn>
                  <a:cxn ang="0">
                    <a:pos x="38" y="101"/>
                  </a:cxn>
                  <a:cxn ang="0">
                    <a:pos x="54" y="117"/>
                  </a:cxn>
                  <a:cxn ang="0">
                    <a:pos x="58" y="117"/>
                  </a:cxn>
                  <a:cxn ang="0">
                    <a:pos x="54" y="105"/>
                  </a:cxn>
                  <a:cxn ang="0">
                    <a:pos x="75" y="83"/>
                  </a:cxn>
                  <a:cxn ang="0">
                    <a:pos x="96" y="105"/>
                  </a:cxn>
                  <a:cxn ang="0">
                    <a:pos x="92" y="117"/>
                  </a:cxn>
                  <a:cxn ang="0">
                    <a:pos x="119" y="117"/>
                  </a:cxn>
                  <a:cxn ang="0">
                    <a:pos x="135" y="101"/>
                  </a:cxn>
                  <a:cxn ang="0">
                    <a:pos x="135" y="55"/>
                  </a:cxn>
                  <a:cxn ang="0">
                    <a:pos x="119" y="39"/>
                  </a:cxn>
                </a:cxnLst>
                <a:rect l="0" t="0" r="r" b="b"/>
                <a:pathLst>
                  <a:path w="135" h="117">
                    <a:moveTo>
                      <a:pt x="119" y="39"/>
                    </a:moveTo>
                    <a:cubicBezTo>
                      <a:pt x="96" y="39"/>
                      <a:pt x="96" y="39"/>
                      <a:pt x="96" y="39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6" y="35"/>
                      <a:pt x="96" y="35"/>
                      <a:pt x="95" y="34"/>
                    </a:cubicBezTo>
                    <a:cubicBezTo>
                      <a:pt x="102" y="32"/>
                      <a:pt x="106" y="25"/>
                      <a:pt x="106" y="18"/>
                    </a:cubicBezTo>
                    <a:cubicBezTo>
                      <a:pt x="106" y="8"/>
                      <a:pt x="98" y="0"/>
                      <a:pt x="88" y="0"/>
                    </a:cubicBezTo>
                    <a:cubicBezTo>
                      <a:pt x="78" y="0"/>
                      <a:pt x="70" y="8"/>
                      <a:pt x="70" y="18"/>
                    </a:cubicBezTo>
                    <a:cubicBezTo>
                      <a:pt x="70" y="24"/>
                      <a:pt x="74" y="30"/>
                      <a:pt x="79" y="33"/>
                    </a:cubicBezTo>
                    <a:cubicBezTo>
                      <a:pt x="79" y="34"/>
                      <a:pt x="79" y="35"/>
                      <a:pt x="79" y="36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45" y="39"/>
                      <a:pt x="38" y="46"/>
                      <a:pt x="38" y="55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5" y="67"/>
                      <a:pt x="35" y="67"/>
                      <a:pt x="34" y="67"/>
                    </a:cubicBezTo>
                    <a:cubicBezTo>
                      <a:pt x="31" y="61"/>
                      <a:pt x="25" y="56"/>
                      <a:pt x="18" y="56"/>
                    </a:cubicBezTo>
                    <a:cubicBezTo>
                      <a:pt x="8" y="56"/>
                      <a:pt x="0" y="64"/>
                      <a:pt x="0" y="74"/>
                    </a:cubicBezTo>
                    <a:cubicBezTo>
                      <a:pt x="0" y="84"/>
                      <a:pt x="8" y="92"/>
                      <a:pt x="18" y="92"/>
                    </a:cubicBezTo>
                    <a:cubicBezTo>
                      <a:pt x="24" y="92"/>
                      <a:pt x="30" y="89"/>
                      <a:pt x="33" y="83"/>
                    </a:cubicBezTo>
                    <a:cubicBezTo>
                      <a:pt x="34" y="83"/>
                      <a:pt x="35" y="84"/>
                      <a:pt x="36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8" y="110"/>
                      <a:pt x="45" y="117"/>
                      <a:pt x="54" y="117"/>
                    </a:cubicBezTo>
                    <a:cubicBezTo>
                      <a:pt x="58" y="117"/>
                      <a:pt x="58" y="117"/>
                      <a:pt x="58" y="117"/>
                    </a:cubicBezTo>
                    <a:cubicBezTo>
                      <a:pt x="55" y="113"/>
                      <a:pt x="54" y="109"/>
                      <a:pt x="54" y="105"/>
                    </a:cubicBezTo>
                    <a:cubicBezTo>
                      <a:pt x="54" y="93"/>
                      <a:pt x="63" y="83"/>
                      <a:pt x="75" y="83"/>
                    </a:cubicBezTo>
                    <a:cubicBezTo>
                      <a:pt x="87" y="83"/>
                      <a:pt x="96" y="93"/>
                      <a:pt x="96" y="105"/>
                    </a:cubicBezTo>
                    <a:cubicBezTo>
                      <a:pt x="96" y="109"/>
                      <a:pt x="95" y="113"/>
                      <a:pt x="92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28" y="117"/>
                      <a:pt x="135" y="110"/>
                      <a:pt x="135" y="101"/>
                    </a:cubicBezTo>
                    <a:cubicBezTo>
                      <a:pt x="135" y="55"/>
                      <a:pt x="135" y="55"/>
                      <a:pt x="135" y="55"/>
                    </a:cubicBezTo>
                    <a:cubicBezTo>
                      <a:pt x="135" y="46"/>
                      <a:pt x="128" y="39"/>
                      <a:pt x="119" y="39"/>
                    </a:cubicBezTo>
                    <a:close/>
                  </a:path>
                </a:pathLst>
              </a:custGeom>
              <a:grp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78" name="Freeform 77"/>
            <p:cNvSpPr/>
            <p:nvPr/>
          </p:nvSpPr>
          <p:spPr>
            <a:xfrm rot="5400000" flipH="1">
              <a:off x="5158964" y="5528784"/>
              <a:ext cx="344941" cy="780524"/>
            </a:xfrm>
            <a:custGeom>
              <a:avLst/>
              <a:gdLst>
                <a:gd name="connsiteX0" fmla="*/ 374650 w 869950"/>
                <a:gd name="connsiteY0" fmla="*/ 1962150 h 1968500"/>
                <a:gd name="connsiteX1" fmla="*/ 387350 w 869950"/>
                <a:gd name="connsiteY1" fmla="*/ 1587500 h 1968500"/>
                <a:gd name="connsiteX2" fmla="*/ 0 w 869950"/>
                <a:gd name="connsiteY2" fmla="*/ 971550 h 1968500"/>
                <a:gd name="connsiteX3" fmla="*/ 508000 w 869950"/>
                <a:gd name="connsiteY3" fmla="*/ 0 h 1968500"/>
                <a:gd name="connsiteX4" fmla="*/ 571500 w 869950"/>
                <a:gd name="connsiteY4" fmla="*/ 0 h 1968500"/>
                <a:gd name="connsiteX5" fmla="*/ 603250 w 869950"/>
                <a:gd name="connsiteY5" fmla="*/ 57150 h 1968500"/>
                <a:gd name="connsiteX6" fmla="*/ 323850 w 869950"/>
                <a:gd name="connsiteY6" fmla="*/ 831850 h 1968500"/>
                <a:gd name="connsiteX7" fmla="*/ 457200 w 869950"/>
                <a:gd name="connsiteY7" fmla="*/ 882650 h 1968500"/>
                <a:gd name="connsiteX8" fmla="*/ 590550 w 869950"/>
                <a:gd name="connsiteY8" fmla="*/ 1168400 h 1968500"/>
                <a:gd name="connsiteX9" fmla="*/ 869950 w 869950"/>
                <a:gd name="connsiteY9" fmla="*/ 1358900 h 1968500"/>
                <a:gd name="connsiteX10" fmla="*/ 806450 w 869950"/>
                <a:gd name="connsiteY10" fmla="*/ 1968500 h 1968500"/>
                <a:gd name="connsiteX11" fmla="*/ 374650 w 869950"/>
                <a:gd name="connsiteY11" fmla="*/ 1962150 h 196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9950" h="1968500">
                  <a:moveTo>
                    <a:pt x="374650" y="1962150"/>
                  </a:moveTo>
                  <a:lnTo>
                    <a:pt x="387350" y="1587500"/>
                  </a:lnTo>
                  <a:lnTo>
                    <a:pt x="0" y="971550"/>
                  </a:lnTo>
                  <a:lnTo>
                    <a:pt x="508000" y="0"/>
                  </a:lnTo>
                  <a:lnTo>
                    <a:pt x="571500" y="0"/>
                  </a:lnTo>
                  <a:lnTo>
                    <a:pt x="603250" y="57150"/>
                  </a:lnTo>
                  <a:lnTo>
                    <a:pt x="323850" y="831850"/>
                  </a:lnTo>
                  <a:lnTo>
                    <a:pt x="457200" y="882650"/>
                  </a:lnTo>
                  <a:lnTo>
                    <a:pt x="590550" y="1168400"/>
                  </a:lnTo>
                  <a:lnTo>
                    <a:pt x="869950" y="1358900"/>
                  </a:lnTo>
                  <a:lnTo>
                    <a:pt x="806450" y="1968500"/>
                  </a:lnTo>
                  <a:lnTo>
                    <a:pt x="374650" y="196215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 rot="2714980">
            <a:off x="11205338" y="6281088"/>
            <a:ext cx="225426" cy="225426"/>
            <a:chOff x="8038824" y="2570057"/>
            <a:chExt cx="475468" cy="475468"/>
          </a:xfrm>
          <a:noFill/>
        </p:grpSpPr>
        <p:sp>
          <p:nvSpPr>
            <p:cNvPr id="82" name="Freeform 81"/>
            <p:cNvSpPr>
              <a:spLocks/>
            </p:cNvSpPr>
            <p:nvPr userDrawn="1"/>
          </p:nvSpPr>
          <p:spPr bwMode="auto">
            <a:xfrm>
              <a:off x="8038824" y="2570057"/>
              <a:ext cx="475468" cy="475468"/>
            </a:xfrm>
            <a:custGeom>
              <a:avLst/>
              <a:gdLst>
                <a:gd name="connsiteX0" fmla="*/ 0 w 475468"/>
                <a:gd name="connsiteY0" fmla="*/ 0 h 475468"/>
                <a:gd name="connsiteX1" fmla="*/ 199656 w 475468"/>
                <a:gd name="connsiteY1" fmla="*/ 0 h 475468"/>
                <a:gd name="connsiteX2" fmla="*/ 127615 w 475468"/>
                <a:gd name="connsiteY2" fmla="*/ 69982 h 475468"/>
                <a:gd name="connsiteX3" fmla="*/ 212406 w 475468"/>
                <a:gd name="connsiteY3" fmla="*/ 158059 h 475468"/>
                <a:gd name="connsiteX4" fmla="*/ 232051 w 475468"/>
                <a:gd name="connsiteY4" fmla="*/ 154093 h 475468"/>
                <a:gd name="connsiteX5" fmla="*/ 256707 w 475468"/>
                <a:gd name="connsiteY5" fmla="*/ 159071 h 475468"/>
                <a:gd name="connsiteX6" fmla="*/ 339620 w 475468"/>
                <a:gd name="connsiteY6" fmla="*/ 76157 h 475468"/>
                <a:gd name="connsiteX7" fmla="*/ 271696 w 475468"/>
                <a:gd name="connsiteY7" fmla="*/ 8233 h 475468"/>
                <a:gd name="connsiteX8" fmla="*/ 475468 w 475468"/>
                <a:gd name="connsiteY8" fmla="*/ 0 h 475468"/>
                <a:gd name="connsiteX9" fmla="*/ 475468 w 475468"/>
                <a:gd name="connsiteY9" fmla="*/ 201714 h 475468"/>
                <a:gd name="connsiteX10" fmla="*/ 393136 w 475468"/>
                <a:gd name="connsiteY10" fmla="*/ 129673 h 475468"/>
                <a:gd name="connsiteX11" fmla="*/ 310364 w 475468"/>
                <a:gd name="connsiteY11" fmla="*/ 215654 h 475468"/>
                <a:gd name="connsiteX12" fmla="*/ 314601 w 475468"/>
                <a:gd name="connsiteY12" fmla="*/ 236643 h 475468"/>
                <a:gd name="connsiteX13" fmla="*/ 310000 w 475468"/>
                <a:gd name="connsiteY13" fmla="*/ 259436 h 475468"/>
                <a:gd name="connsiteX14" fmla="*/ 393136 w 475468"/>
                <a:gd name="connsiteY14" fmla="*/ 345795 h 475468"/>
                <a:gd name="connsiteX15" fmla="*/ 475468 w 475468"/>
                <a:gd name="connsiteY15" fmla="*/ 273754 h 475468"/>
                <a:gd name="connsiteX16" fmla="*/ 475468 w 475468"/>
                <a:gd name="connsiteY16" fmla="*/ 475468 h 475468"/>
                <a:gd name="connsiteX17" fmla="*/ 271696 w 475468"/>
                <a:gd name="connsiteY17" fmla="*/ 467235 h 475468"/>
                <a:gd name="connsiteX18" fmla="*/ 339620 w 475468"/>
                <a:gd name="connsiteY18" fmla="*/ 399311 h 475468"/>
                <a:gd name="connsiteX19" fmla="*/ 254891 w 475468"/>
                <a:gd name="connsiteY19" fmla="*/ 314582 h 475468"/>
                <a:gd name="connsiteX20" fmla="*/ 232051 w 475468"/>
                <a:gd name="connsiteY20" fmla="*/ 319193 h 475468"/>
                <a:gd name="connsiteX21" fmla="*/ 214165 w 475468"/>
                <a:gd name="connsiteY21" fmla="*/ 315582 h 475468"/>
                <a:gd name="connsiteX22" fmla="*/ 127615 w 475468"/>
                <a:gd name="connsiteY22" fmla="*/ 405486 h 475468"/>
                <a:gd name="connsiteX23" fmla="*/ 199656 w 475468"/>
                <a:gd name="connsiteY23" fmla="*/ 475468 h 475468"/>
                <a:gd name="connsiteX24" fmla="*/ 0 w 475468"/>
                <a:gd name="connsiteY24" fmla="*/ 475468 h 475468"/>
                <a:gd name="connsiteX25" fmla="*/ 0 w 475468"/>
                <a:gd name="connsiteY25" fmla="*/ 277871 h 475468"/>
                <a:gd name="connsiteX26" fmla="*/ 72041 w 475468"/>
                <a:gd name="connsiteY26" fmla="*/ 343737 h 475468"/>
                <a:gd name="connsiteX27" fmla="*/ 154479 w 475468"/>
                <a:gd name="connsiteY27" fmla="*/ 261298 h 475468"/>
                <a:gd name="connsiteX28" fmla="*/ 149501 w 475468"/>
                <a:gd name="connsiteY28" fmla="*/ 236643 h 475468"/>
                <a:gd name="connsiteX29" fmla="*/ 154112 w 475468"/>
                <a:gd name="connsiteY29" fmla="*/ 213803 h 475468"/>
                <a:gd name="connsiteX30" fmla="*/ 72041 w 475468"/>
                <a:gd name="connsiteY30" fmla="*/ 131732 h 475468"/>
                <a:gd name="connsiteX31" fmla="*/ 0 w 475468"/>
                <a:gd name="connsiteY31" fmla="*/ 197597 h 47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75468" h="475468">
                  <a:moveTo>
                    <a:pt x="0" y="0"/>
                  </a:moveTo>
                  <a:lnTo>
                    <a:pt x="199656" y="0"/>
                  </a:lnTo>
                  <a:lnTo>
                    <a:pt x="127615" y="69982"/>
                  </a:lnTo>
                  <a:lnTo>
                    <a:pt x="212406" y="158059"/>
                  </a:lnTo>
                  <a:lnTo>
                    <a:pt x="232051" y="154093"/>
                  </a:lnTo>
                  <a:lnTo>
                    <a:pt x="256707" y="159071"/>
                  </a:lnTo>
                  <a:lnTo>
                    <a:pt x="339620" y="76157"/>
                  </a:lnTo>
                  <a:lnTo>
                    <a:pt x="271696" y="8233"/>
                  </a:lnTo>
                  <a:lnTo>
                    <a:pt x="475468" y="0"/>
                  </a:lnTo>
                  <a:lnTo>
                    <a:pt x="475468" y="201714"/>
                  </a:lnTo>
                  <a:lnTo>
                    <a:pt x="393136" y="129673"/>
                  </a:lnTo>
                  <a:lnTo>
                    <a:pt x="310364" y="215654"/>
                  </a:lnTo>
                  <a:lnTo>
                    <a:pt x="314601" y="236643"/>
                  </a:lnTo>
                  <a:lnTo>
                    <a:pt x="310000" y="259436"/>
                  </a:lnTo>
                  <a:lnTo>
                    <a:pt x="393136" y="345795"/>
                  </a:lnTo>
                  <a:lnTo>
                    <a:pt x="475468" y="273754"/>
                  </a:lnTo>
                  <a:lnTo>
                    <a:pt x="475468" y="475468"/>
                  </a:lnTo>
                  <a:lnTo>
                    <a:pt x="271696" y="467235"/>
                  </a:lnTo>
                  <a:lnTo>
                    <a:pt x="339620" y="399311"/>
                  </a:lnTo>
                  <a:lnTo>
                    <a:pt x="254891" y="314582"/>
                  </a:lnTo>
                  <a:lnTo>
                    <a:pt x="232051" y="319193"/>
                  </a:lnTo>
                  <a:lnTo>
                    <a:pt x="214165" y="315582"/>
                  </a:lnTo>
                  <a:lnTo>
                    <a:pt x="127615" y="405486"/>
                  </a:lnTo>
                  <a:lnTo>
                    <a:pt x="199656" y="475468"/>
                  </a:lnTo>
                  <a:lnTo>
                    <a:pt x="0" y="475468"/>
                  </a:lnTo>
                  <a:lnTo>
                    <a:pt x="0" y="277871"/>
                  </a:lnTo>
                  <a:lnTo>
                    <a:pt x="72041" y="343737"/>
                  </a:lnTo>
                  <a:lnTo>
                    <a:pt x="154479" y="261298"/>
                  </a:lnTo>
                  <a:lnTo>
                    <a:pt x="149501" y="236643"/>
                  </a:lnTo>
                  <a:lnTo>
                    <a:pt x="154112" y="213803"/>
                  </a:lnTo>
                  <a:lnTo>
                    <a:pt x="72041" y="131732"/>
                  </a:lnTo>
                  <a:lnTo>
                    <a:pt x="0" y="197597"/>
                  </a:ln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83" name="Oval 82"/>
            <p:cNvSpPr/>
            <p:nvPr userDrawn="1"/>
          </p:nvSpPr>
          <p:spPr>
            <a:xfrm>
              <a:off x="8229600" y="2765425"/>
              <a:ext cx="82550" cy="82550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4" name="Straight Connector 83"/>
            <p:cNvCxnSpPr/>
            <p:nvPr userDrawn="1"/>
          </p:nvCxnSpPr>
          <p:spPr>
            <a:xfrm flipV="1">
              <a:off x="8038824" y="2701788"/>
              <a:ext cx="72041" cy="63637"/>
            </a:xfrm>
            <a:prstGeom prst="lin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6762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04476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424592" y="6523774"/>
            <a:ext cx="3609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>
            <a:stCxn id="21" idx="0"/>
          </p:cNvCxnSpPr>
          <p:nvPr userDrawn="1"/>
        </p:nvCxnSpPr>
        <p:spPr>
          <a:xfrm>
            <a:off x="642519" y="6388938"/>
            <a:ext cx="11141494" cy="0"/>
          </a:xfrm>
          <a:prstGeom prst="line">
            <a:avLst/>
          </a:prstGeom>
          <a:ln w="9525">
            <a:solidFill>
              <a:srgbClr val="065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821338" y="6553708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949043" y="652176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  <p:sp>
        <p:nvSpPr>
          <p:cNvPr id="21" name="Arc 20"/>
          <p:cNvSpPr/>
          <p:nvPr userDrawn="1"/>
        </p:nvSpPr>
        <p:spPr>
          <a:xfrm flipH="1">
            <a:off x="407988" y="6388938"/>
            <a:ext cx="469062" cy="469062"/>
          </a:xfrm>
          <a:prstGeom prst="arc">
            <a:avLst/>
          </a:prstGeom>
          <a:ln w="9525" cap="rnd">
            <a:solidFill>
              <a:srgbClr val="065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 userDrawn="1"/>
        </p:nvSpPr>
        <p:spPr>
          <a:xfrm>
            <a:off x="9982200" y="6197598"/>
            <a:ext cx="381000" cy="381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065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 userDrawn="1"/>
        </p:nvSpPr>
        <p:spPr>
          <a:xfrm>
            <a:off x="10553700" y="6197598"/>
            <a:ext cx="381000" cy="381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065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 userDrawn="1"/>
        </p:nvSpPr>
        <p:spPr>
          <a:xfrm>
            <a:off x="11125200" y="6197598"/>
            <a:ext cx="381000" cy="381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065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e 617"/>
          <p:cNvGrpSpPr/>
          <p:nvPr userDrawn="1"/>
        </p:nvGrpSpPr>
        <p:grpSpPr>
          <a:xfrm>
            <a:off x="10594635" y="6309781"/>
            <a:ext cx="301965" cy="190969"/>
            <a:chOff x="3868714" y="2093714"/>
            <a:chExt cx="331788" cy="214313"/>
          </a:xfrm>
          <a:noFill/>
        </p:grpSpPr>
        <p:sp>
          <p:nvSpPr>
            <p:cNvPr id="26" name="Freeform 798"/>
            <p:cNvSpPr>
              <a:spLocks/>
            </p:cNvSpPr>
            <p:nvPr/>
          </p:nvSpPr>
          <p:spPr bwMode="auto">
            <a:xfrm>
              <a:off x="3868714" y="2206427"/>
              <a:ext cx="165100" cy="101600"/>
            </a:xfrm>
            <a:custGeom>
              <a:avLst/>
              <a:gdLst/>
              <a:ahLst/>
              <a:cxnLst>
                <a:cxn ang="0">
                  <a:pos x="100" y="47"/>
                </a:cxn>
                <a:cxn ang="0">
                  <a:pos x="100" y="47"/>
                </a:cxn>
                <a:cxn ang="0">
                  <a:pos x="103" y="50"/>
                </a:cxn>
                <a:cxn ang="0">
                  <a:pos x="104" y="54"/>
                </a:cxn>
                <a:cxn ang="0">
                  <a:pos x="103" y="57"/>
                </a:cxn>
                <a:cxn ang="0">
                  <a:pos x="100" y="60"/>
                </a:cxn>
                <a:cxn ang="0">
                  <a:pos x="100" y="60"/>
                </a:cxn>
                <a:cxn ang="0">
                  <a:pos x="100" y="60"/>
                </a:cxn>
                <a:cxn ang="0">
                  <a:pos x="98" y="63"/>
                </a:cxn>
                <a:cxn ang="0">
                  <a:pos x="94" y="64"/>
                </a:cxn>
                <a:cxn ang="0">
                  <a:pos x="90" y="63"/>
                </a:cxn>
                <a:cxn ang="0">
                  <a:pos x="88" y="60"/>
                </a:cxn>
                <a:cxn ang="0">
                  <a:pos x="88" y="60"/>
                </a:cxn>
                <a:cxn ang="0">
                  <a:pos x="67" y="38"/>
                </a:cxn>
                <a:cxn ang="0">
                  <a:pos x="51" y="21"/>
                </a:cxn>
                <a:cxn ang="0">
                  <a:pos x="42" y="14"/>
                </a:cxn>
                <a:cxn ang="0">
                  <a:pos x="36" y="9"/>
                </a:cxn>
                <a:cxn ang="0">
                  <a:pos x="36" y="9"/>
                </a:cxn>
                <a:cxn ang="0">
                  <a:pos x="29" y="7"/>
                </a:cxn>
                <a:cxn ang="0">
                  <a:pos x="22" y="4"/>
                </a:cxn>
                <a:cxn ang="0">
                  <a:pos x="12" y="2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104" h="64">
                  <a:moveTo>
                    <a:pt x="100" y="47"/>
                  </a:moveTo>
                  <a:lnTo>
                    <a:pt x="100" y="47"/>
                  </a:lnTo>
                  <a:lnTo>
                    <a:pt x="103" y="50"/>
                  </a:lnTo>
                  <a:lnTo>
                    <a:pt x="104" y="54"/>
                  </a:lnTo>
                  <a:lnTo>
                    <a:pt x="103" y="57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98" y="63"/>
                  </a:lnTo>
                  <a:lnTo>
                    <a:pt x="94" y="64"/>
                  </a:lnTo>
                  <a:lnTo>
                    <a:pt x="90" y="63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67" y="38"/>
                  </a:lnTo>
                  <a:lnTo>
                    <a:pt x="51" y="21"/>
                  </a:lnTo>
                  <a:lnTo>
                    <a:pt x="42" y="14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29" y="7"/>
                  </a:lnTo>
                  <a:lnTo>
                    <a:pt x="22" y="4"/>
                  </a:lnTo>
                  <a:lnTo>
                    <a:pt x="12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99"/>
            <p:cNvSpPr>
              <a:spLocks/>
            </p:cNvSpPr>
            <p:nvPr/>
          </p:nvSpPr>
          <p:spPr bwMode="auto">
            <a:xfrm>
              <a:off x="3986189" y="2214364"/>
              <a:ext cx="74613" cy="7778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7" y="35"/>
                </a:cxn>
                <a:cxn ang="0">
                  <a:pos x="47" y="39"/>
                </a:cxn>
                <a:cxn ang="0">
                  <a:pos x="47" y="42"/>
                </a:cxn>
                <a:cxn ang="0">
                  <a:pos x="44" y="46"/>
                </a:cxn>
                <a:cxn ang="0">
                  <a:pos x="44" y="46"/>
                </a:cxn>
                <a:cxn ang="0">
                  <a:pos x="44" y="46"/>
                </a:cxn>
                <a:cxn ang="0">
                  <a:pos x="42" y="47"/>
                </a:cxn>
                <a:cxn ang="0">
                  <a:pos x="38" y="49"/>
                </a:cxn>
                <a:cxn ang="0">
                  <a:pos x="34" y="47"/>
                </a:cxn>
                <a:cxn ang="0">
                  <a:pos x="30" y="46"/>
                </a:cxn>
                <a:cxn ang="0">
                  <a:pos x="0" y="14"/>
                </a:cxn>
              </a:cxnLst>
              <a:rect l="0" t="0" r="r" b="b"/>
              <a:pathLst>
                <a:path w="47" h="49">
                  <a:moveTo>
                    <a:pt x="12" y="0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7" y="35"/>
                  </a:lnTo>
                  <a:lnTo>
                    <a:pt x="47" y="39"/>
                  </a:lnTo>
                  <a:lnTo>
                    <a:pt x="47" y="42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2" y="47"/>
                  </a:lnTo>
                  <a:lnTo>
                    <a:pt x="38" y="49"/>
                  </a:lnTo>
                  <a:lnTo>
                    <a:pt x="34" y="47"/>
                  </a:lnTo>
                  <a:lnTo>
                    <a:pt x="30" y="46"/>
                  </a:lnTo>
                  <a:lnTo>
                    <a:pt x="0" y="14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00"/>
            <p:cNvSpPr>
              <a:spLocks/>
            </p:cNvSpPr>
            <p:nvPr/>
          </p:nvSpPr>
          <p:spPr bwMode="auto">
            <a:xfrm>
              <a:off x="4027464" y="2166739"/>
              <a:ext cx="96838" cy="103188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59" y="48"/>
                </a:cxn>
                <a:cxn ang="0">
                  <a:pos x="59" y="48"/>
                </a:cxn>
                <a:cxn ang="0">
                  <a:pos x="61" y="51"/>
                </a:cxn>
                <a:cxn ang="0">
                  <a:pos x="61" y="55"/>
                </a:cxn>
                <a:cxn ang="0">
                  <a:pos x="61" y="58"/>
                </a:cxn>
                <a:cxn ang="0">
                  <a:pos x="59" y="62"/>
                </a:cxn>
                <a:cxn ang="0">
                  <a:pos x="59" y="62"/>
                </a:cxn>
                <a:cxn ang="0">
                  <a:pos x="59" y="62"/>
                </a:cxn>
                <a:cxn ang="0">
                  <a:pos x="56" y="63"/>
                </a:cxn>
                <a:cxn ang="0">
                  <a:pos x="52" y="65"/>
                </a:cxn>
                <a:cxn ang="0">
                  <a:pos x="49" y="63"/>
                </a:cxn>
                <a:cxn ang="0">
                  <a:pos x="45" y="62"/>
                </a:cxn>
                <a:cxn ang="0">
                  <a:pos x="0" y="17"/>
                </a:cxn>
              </a:cxnLst>
              <a:rect l="0" t="0" r="r" b="b"/>
              <a:pathLst>
                <a:path w="61" h="65">
                  <a:moveTo>
                    <a:pt x="21" y="0"/>
                  </a:moveTo>
                  <a:lnTo>
                    <a:pt x="59" y="48"/>
                  </a:lnTo>
                  <a:lnTo>
                    <a:pt x="59" y="48"/>
                  </a:lnTo>
                  <a:lnTo>
                    <a:pt x="61" y="51"/>
                  </a:lnTo>
                  <a:lnTo>
                    <a:pt x="61" y="55"/>
                  </a:lnTo>
                  <a:lnTo>
                    <a:pt x="61" y="58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6" y="63"/>
                  </a:lnTo>
                  <a:lnTo>
                    <a:pt x="52" y="65"/>
                  </a:lnTo>
                  <a:lnTo>
                    <a:pt x="49" y="63"/>
                  </a:lnTo>
                  <a:lnTo>
                    <a:pt x="45" y="62"/>
                  </a:lnTo>
                  <a:lnTo>
                    <a:pt x="0" y="17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01"/>
            <p:cNvSpPr>
              <a:spLocks/>
            </p:cNvSpPr>
            <p:nvPr/>
          </p:nvSpPr>
          <p:spPr bwMode="auto">
            <a:xfrm>
              <a:off x="3951264" y="2103239"/>
              <a:ext cx="249238" cy="80963"/>
            </a:xfrm>
            <a:custGeom>
              <a:avLst/>
              <a:gdLst/>
              <a:ahLst/>
              <a:cxnLst>
                <a:cxn ang="0">
                  <a:pos x="157" y="7"/>
                </a:cxn>
                <a:cxn ang="0">
                  <a:pos x="157" y="7"/>
                </a:cxn>
                <a:cxn ang="0">
                  <a:pos x="143" y="15"/>
                </a:cxn>
                <a:cxn ang="0">
                  <a:pos x="132" y="19"/>
                </a:cxn>
                <a:cxn ang="0">
                  <a:pos x="126" y="21"/>
                </a:cxn>
                <a:cxn ang="0">
                  <a:pos x="122" y="21"/>
                </a:cxn>
                <a:cxn ang="0">
                  <a:pos x="122" y="21"/>
                </a:cxn>
                <a:cxn ang="0">
                  <a:pos x="116" y="20"/>
                </a:cxn>
                <a:cxn ang="0">
                  <a:pos x="108" y="17"/>
                </a:cxn>
                <a:cxn ang="0">
                  <a:pos x="93" y="10"/>
                </a:cxn>
                <a:cxn ang="0">
                  <a:pos x="79" y="3"/>
                </a:cxn>
                <a:cxn ang="0">
                  <a:pos x="71" y="1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60" y="0"/>
                </a:cxn>
                <a:cxn ang="0">
                  <a:pos x="51" y="3"/>
                </a:cxn>
                <a:cxn ang="0">
                  <a:pos x="32" y="11"/>
                </a:cxn>
                <a:cxn ang="0">
                  <a:pos x="7" y="24"/>
                </a:cxn>
                <a:cxn ang="0">
                  <a:pos x="7" y="24"/>
                </a:cxn>
                <a:cxn ang="0">
                  <a:pos x="3" y="26"/>
                </a:cxn>
                <a:cxn ang="0">
                  <a:pos x="1" y="29"/>
                </a:cxn>
                <a:cxn ang="0">
                  <a:pos x="0" y="32"/>
                </a:cxn>
                <a:cxn ang="0">
                  <a:pos x="1" y="36"/>
                </a:cxn>
                <a:cxn ang="0">
                  <a:pos x="1" y="36"/>
                </a:cxn>
                <a:cxn ang="0">
                  <a:pos x="1" y="36"/>
                </a:cxn>
                <a:cxn ang="0">
                  <a:pos x="4" y="40"/>
                </a:cxn>
                <a:cxn ang="0">
                  <a:pos x="7" y="41"/>
                </a:cxn>
                <a:cxn ang="0">
                  <a:pos x="10" y="43"/>
                </a:cxn>
                <a:cxn ang="0">
                  <a:pos x="14" y="41"/>
                </a:cxn>
                <a:cxn ang="0">
                  <a:pos x="53" y="26"/>
                </a:cxn>
                <a:cxn ang="0">
                  <a:pos x="53" y="26"/>
                </a:cxn>
                <a:cxn ang="0">
                  <a:pos x="57" y="29"/>
                </a:cxn>
                <a:cxn ang="0">
                  <a:pos x="65" y="36"/>
                </a:cxn>
                <a:cxn ang="0">
                  <a:pos x="76" y="45"/>
                </a:cxn>
                <a:cxn ang="0">
                  <a:pos x="83" y="48"/>
                </a:cxn>
                <a:cxn ang="0">
                  <a:pos x="89" y="50"/>
                </a:cxn>
                <a:cxn ang="0">
                  <a:pos x="89" y="50"/>
                </a:cxn>
                <a:cxn ang="0">
                  <a:pos x="98" y="51"/>
                </a:cxn>
                <a:cxn ang="0">
                  <a:pos x="104" y="50"/>
                </a:cxn>
                <a:cxn ang="0">
                  <a:pos x="110" y="49"/>
                </a:cxn>
              </a:cxnLst>
              <a:rect l="0" t="0" r="r" b="b"/>
              <a:pathLst>
                <a:path w="157" h="51">
                  <a:moveTo>
                    <a:pt x="157" y="7"/>
                  </a:moveTo>
                  <a:lnTo>
                    <a:pt x="157" y="7"/>
                  </a:lnTo>
                  <a:lnTo>
                    <a:pt x="143" y="15"/>
                  </a:lnTo>
                  <a:lnTo>
                    <a:pt x="132" y="19"/>
                  </a:lnTo>
                  <a:lnTo>
                    <a:pt x="126" y="21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16" y="20"/>
                  </a:lnTo>
                  <a:lnTo>
                    <a:pt x="108" y="17"/>
                  </a:lnTo>
                  <a:lnTo>
                    <a:pt x="93" y="10"/>
                  </a:lnTo>
                  <a:lnTo>
                    <a:pt x="79" y="3"/>
                  </a:lnTo>
                  <a:lnTo>
                    <a:pt x="71" y="1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51" y="3"/>
                  </a:lnTo>
                  <a:lnTo>
                    <a:pt x="32" y="11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3" y="26"/>
                  </a:lnTo>
                  <a:lnTo>
                    <a:pt x="1" y="29"/>
                  </a:lnTo>
                  <a:lnTo>
                    <a:pt x="0" y="32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4" y="40"/>
                  </a:lnTo>
                  <a:lnTo>
                    <a:pt x="7" y="41"/>
                  </a:lnTo>
                  <a:lnTo>
                    <a:pt x="10" y="43"/>
                  </a:lnTo>
                  <a:lnTo>
                    <a:pt x="14" y="4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7" y="29"/>
                  </a:lnTo>
                  <a:lnTo>
                    <a:pt x="65" y="36"/>
                  </a:lnTo>
                  <a:lnTo>
                    <a:pt x="76" y="45"/>
                  </a:lnTo>
                  <a:lnTo>
                    <a:pt x="83" y="48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98" y="51"/>
                  </a:lnTo>
                  <a:lnTo>
                    <a:pt x="104" y="50"/>
                  </a:lnTo>
                  <a:lnTo>
                    <a:pt x="110" y="49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02"/>
            <p:cNvSpPr>
              <a:spLocks/>
            </p:cNvSpPr>
            <p:nvPr/>
          </p:nvSpPr>
          <p:spPr bwMode="auto">
            <a:xfrm>
              <a:off x="4060801" y="2247702"/>
              <a:ext cx="25400" cy="2540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4" y="0"/>
                </a:cxn>
                <a:cxn ang="0">
                  <a:pos x="16" y="4"/>
                </a:cxn>
                <a:cxn ang="0">
                  <a:pos x="16" y="7"/>
                </a:cxn>
                <a:cxn ang="0">
                  <a:pos x="16" y="10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0" y="16"/>
                </a:cxn>
                <a:cxn ang="0">
                  <a:pos x="7" y="16"/>
                </a:cxn>
                <a:cxn ang="0">
                  <a:pos x="3" y="16"/>
                </a:cxn>
                <a:cxn ang="0">
                  <a:pos x="0" y="14"/>
                </a:cxn>
              </a:cxnLst>
              <a:rect l="0" t="0" r="r" b="b"/>
              <a:pathLst>
                <a:path w="16" h="16">
                  <a:moveTo>
                    <a:pt x="14" y="0"/>
                  </a:moveTo>
                  <a:lnTo>
                    <a:pt x="14" y="0"/>
                  </a:lnTo>
                  <a:lnTo>
                    <a:pt x="16" y="4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3" y="16"/>
                  </a:lnTo>
                  <a:lnTo>
                    <a:pt x="0" y="14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03"/>
            <p:cNvSpPr>
              <a:spLocks/>
            </p:cNvSpPr>
            <p:nvPr/>
          </p:nvSpPr>
          <p:spPr bwMode="auto">
            <a:xfrm>
              <a:off x="4117951" y="2204839"/>
              <a:ext cx="82550" cy="3016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19"/>
                </a:cxn>
                <a:cxn ang="0">
                  <a:pos x="7" y="18"/>
                </a:cxn>
                <a:cxn ang="0">
                  <a:pos x="22" y="15"/>
                </a:cxn>
                <a:cxn ang="0">
                  <a:pos x="31" y="13"/>
                </a:cxn>
                <a:cxn ang="0">
                  <a:pos x="40" y="10"/>
                </a:cxn>
                <a:cxn ang="0">
                  <a:pos x="47" y="5"/>
                </a:cxn>
                <a:cxn ang="0">
                  <a:pos x="52" y="0"/>
                </a:cxn>
              </a:cxnLst>
              <a:rect l="0" t="0" r="r" b="b"/>
              <a:pathLst>
                <a:path w="52" h="19">
                  <a:moveTo>
                    <a:pt x="0" y="19"/>
                  </a:moveTo>
                  <a:lnTo>
                    <a:pt x="0" y="19"/>
                  </a:lnTo>
                  <a:lnTo>
                    <a:pt x="7" y="18"/>
                  </a:lnTo>
                  <a:lnTo>
                    <a:pt x="22" y="15"/>
                  </a:lnTo>
                  <a:lnTo>
                    <a:pt x="31" y="13"/>
                  </a:lnTo>
                  <a:lnTo>
                    <a:pt x="40" y="10"/>
                  </a:lnTo>
                  <a:lnTo>
                    <a:pt x="47" y="5"/>
                  </a:lnTo>
                  <a:lnTo>
                    <a:pt x="52" y="0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04"/>
            <p:cNvSpPr>
              <a:spLocks/>
            </p:cNvSpPr>
            <p:nvPr/>
          </p:nvSpPr>
          <p:spPr bwMode="auto">
            <a:xfrm>
              <a:off x="3884589" y="2093714"/>
              <a:ext cx="134938" cy="190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3" y="0"/>
                </a:cxn>
                <a:cxn ang="0">
                  <a:pos x="27" y="0"/>
                </a:cxn>
                <a:cxn ang="0">
                  <a:pos x="42" y="2"/>
                </a:cxn>
                <a:cxn ang="0">
                  <a:pos x="55" y="4"/>
                </a:cxn>
                <a:cxn ang="0">
                  <a:pos x="76" y="9"/>
                </a:cxn>
                <a:cxn ang="0">
                  <a:pos x="85" y="12"/>
                </a:cxn>
              </a:cxnLst>
              <a:rect l="0" t="0" r="r" b="b"/>
              <a:pathLst>
                <a:path w="85" h="12">
                  <a:moveTo>
                    <a:pt x="0" y="2"/>
                  </a:moveTo>
                  <a:lnTo>
                    <a:pt x="0" y="2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42" y="2"/>
                  </a:lnTo>
                  <a:lnTo>
                    <a:pt x="55" y="4"/>
                  </a:lnTo>
                  <a:lnTo>
                    <a:pt x="76" y="9"/>
                  </a:lnTo>
                  <a:lnTo>
                    <a:pt x="85" y="12"/>
                  </a:lnTo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/>
          <p:cNvGrpSpPr/>
          <p:nvPr userDrawn="1"/>
        </p:nvGrpSpPr>
        <p:grpSpPr>
          <a:xfrm>
            <a:off x="10029825" y="6269642"/>
            <a:ext cx="285751" cy="250850"/>
            <a:chOff x="4941173" y="5406320"/>
            <a:chExt cx="780524" cy="685196"/>
          </a:xfrm>
          <a:noFill/>
        </p:grpSpPr>
        <p:grpSp>
          <p:nvGrpSpPr>
            <p:cNvPr id="34" name="Group 128"/>
            <p:cNvGrpSpPr>
              <a:grpSpLocks noChangeAspect="1"/>
            </p:cNvGrpSpPr>
            <p:nvPr/>
          </p:nvGrpSpPr>
          <p:grpSpPr>
            <a:xfrm>
              <a:off x="5051876" y="5406320"/>
              <a:ext cx="667934" cy="389884"/>
              <a:chOff x="27743138" y="6211893"/>
              <a:chExt cx="1139526" cy="665163"/>
            </a:xfrm>
            <a:grpFill/>
          </p:grpSpPr>
          <p:sp>
            <p:nvSpPr>
              <p:cNvPr id="36" name="Freeform 4138"/>
              <p:cNvSpPr>
                <a:spLocks/>
              </p:cNvSpPr>
              <p:nvPr/>
            </p:nvSpPr>
            <p:spPr bwMode="auto">
              <a:xfrm>
                <a:off x="27743138" y="6211893"/>
                <a:ext cx="576263" cy="665163"/>
              </a:xfrm>
              <a:custGeom>
                <a:avLst/>
                <a:gdLst/>
                <a:ahLst/>
                <a:cxnLst>
                  <a:cxn ang="0">
                    <a:pos x="133" y="101"/>
                  </a:cxn>
                  <a:cxn ang="0">
                    <a:pos x="112" y="80"/>
                  </a:cxn>
                  <a:cxn ang="0">
                    <a:pos x="133" y="59"/>
                  </a:cxn>
                  <a:cxn ang="0">
                    <a:pos x="134" y="59"/>
                  </a:cxn>
                  <a:cxn ang="0">
                    <a:pos x="134" y="55"/>
                  </a:cxn>
                  <a:cxn ang="0">
                    <a:pos x="119" y="39"/>
                  </a:cxn>
                  <a:cxn ang="0">
                    <a:pos x="95" y="39"/>
                  </a:cxn>
                  <a:cxn ang="0">
                    <a:pos x="95" y="36"/>
                  </a:cxn>
                  <a:cxn ang="0">
                    <a:pos x="9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70" y="18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79" y="39"/>
                  </a:cxn>
                  <a:cxn ang="0">
                    <a:pos x="54" y="39"/>
                  </a:cxn>
                  <a:cxn ang="0">
                    <a:pos x="38" y="55"/>
                  </a:cxn>
                  <a:cxn ang="0">
                    <a:pos x="38" y="67"/>
                  </a:cxn>
                  <a:cxn ang="0">
                    <a:pos x="36" y="67"/>
                  </a:cxn>
                  <a:cxn ang="0">
                    <a:pos x="34" y="67"/>
                  </a:cxn>
                  <a:cxn ang="0">
                    <a:pos x="17" y="56"/>
                  </a:cxn>
                  <a:cxn ang="0">
                    <a:pos x="0" y="74"/>
                  </a:cxn>
                  <a:cxn ang="0">
                    <a:pos x="17" y="92"/>
                  </a:cxn>
                  <a:cxn ang="0">
                    <a:pos x="33" y="83"/>
                  </a:cxn>
                  <a:cxn ang="0">
                    <a:pos x="36" y="84"/>
                  </a:cxn>
                  <a:cxn ang="0">
                    <a:pos x="38" y="84"/>
                  </a:cxn>
                  <a:cxn ang="0">
                    <a:pos x="38" y="101"/>
                  </a:cxn>
                  <a:cxn ang="0">
                    <a:pos x="54" y="117"/>
                  </a:cxn>
                  <a:cxn ang="0">
                    <a:pos x="100" y="117"/>
                  </a:cxn>
                  <a:cxn ang="0">
                    <a:pos x="100" y="119"/>
                  </a:cxn>
                  <a:cxn ang="0">
                    <a:pos x="100" y="120"/>
                  </a:cxn>
                  <a:cxn ang="0">
                    <a:pos x="89" y="137"/>
                  </a:cxn>
                  <a:cxn ang="0">
                    <a:pos x="107" y="155"/>
                  </a:cxn>
                  <a:cxn ang="0">
                    <a:pos x="125" y="137"/>
                  </a:cxn>
                  <a:cxn ang="0">
                    <a:pos x="116" y="121"/>
                  </a:cxn>
                  <a:cxn ang="0">
                    <a:pos x="116" y="119"/>
                  </a:cxn>
                  <a:cxn ang="0">
                    <a:pos x="116" y="117"/>
                  </a:cxn>
                  <a:cxn ang="0">
                    <a:pos x="119" y="117"/>
                  </a:cxn>
                  <a:cxn ang="0">
                    <a:pos x="134" y="101"/>
                  </a:cxn>
                  <a:cxn ang="0">
                    <a:pos x="134" y="101"/>
                  </a:cxn>
                  <a:cxn ang="0">
                    <a:pos x="133" y="101"/>
                  </a:cxn>
                </a:cxnLst>
                <a:rect l="0" t="0" r="r" b="b"/>
                <a:pathLst>
                  <a:path w="134" h="155">
                    <a:moveTo>
                      <a:pt x="133" y="101"/>
                    </a:moveTo>
                    <a:cubicBezTo>
                      <a:pt x="122" y="101"/>
                      <a:pt x="112" y="92"/>
                      <a:pt x="112" y="80"/>
                    </a:cubicBezTo>
                    <a:cubicBezTo>
                      <a:pt x="112" y="68"/>
                      <a:pt x="122" y="59"/>
                      <a:pt x="133" y="59"/>
                    </a:cubicBezTo>
                    <a:cubicBezTo>
                      <a:pt x="134" y="59"/>
                      <a:pt x="134" y="59"/>
                      <a:pt x="134" y="59"/>
                    </a:cubicBezTo>
                    <a:cubicBezTo>
                      <a:pt x="134" y="55"/>
                      <a:pt x="134" y="55"/>
                      <a:pt x="134" y="55"/>
                    </a:cubicBezTo>
                    <a:cubicBezTo>
                      <a:pt x="134" y="46"/>
                      <a:pt x="127" y="39"/>
                      <a:pt x="119" y="39"/>
                    </a:cubicBezTo>
                    <a:cubicBezTo>
                      <a:pt x="95" y="39"/>
                      <a:pt x="95" y="39"/>
                      <a:pt x="95" y="39"/>
                    </a:cubicBezTo>
                    <a:cubicBezTo>
                      <a:pt x="95" y="36"/>
                      <a:pt x="95" y="36"/>
                      <a:pt x="95" y="36"/>
                    </a:cubicBezTo>
                    <a:cubicBezTo>
                      <a:pt x="95" y="35"/>
                      <a:pt x="95" y="35"/>
                      <a:pt x="95" y="34"/>
                    </a:cubicBezTo>
                    <a:cubicBezTo>
                      <a:pt x="102" y="32"/>
                      <a:pt x="106" y="25"/>
                      <a:pt x="106" y="18"/>
                    </a:cubicBezTo>
                    <a:cubicBezTo>
                      <a:pt x="106" y="8"/>
                      <a:pt x="98" y="0"/>
                      <a:pt x="88" y="0"/>
                    </a:cubicBezTo>
                    <a:cubicBezTo>
                      <a:pt x="78" y="0"/>
                      <a:pt x="70" y="8"/>
                      <a:pt x="70" y="18"/>
                    </a:cubicBezTo>
                    <a:cubicBezTo>
                      <a:pt x="70" y="25"/>
                      <a:pt x="74" y="30"/>
                      <a:pt x="79" y="33"/>
                    </a:cubicBezTo>
                    <a:cubicBezTo>
                      <a:pt x="79" y="34"/>
                      <a:pt x="79" y="35"/>
                      <a:pt x="79" y="36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45" y="39"/>
                      <a:pt x="38" y="46"/>
                      <a:pt x="38" y="55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5" y="67"/>
                      <a:pt x="35" y="67"/>
                      <a:pt x="34" y="67"/>
                    </a:cubicBezTo>
                    <a:cubicBezTo>
                      <a:pt x="31" y="61"/>
                      <a:pt x="25" y="56"/>
                      <a:pt x="17" y="56"/>
                    </a:cubicBezTo>
                    <a:cubicBezTo>
                      <a:pt x="8" y="56"/>
                      <a:pt x="0" y="64"/>
                      <a:pt x="0" y="74"/>
                    </a:cubicBezTo>
                    <a:cubicBezTo>
                      <a:pt x="0" y="84"/>
                      <a:pt x="8" y="92"/>
                      <a:pt x="17" y="92"/>
                    </a:cubicBezTo>
                    <a:cubicBezTo>
                      <a:pt x="24" y="92"/>
                      <a:pt x="30" y="89"/>
                      <a:pt x="33" y="83"/>
                    </a:cubicBezTo>
                    <a:cubicBezTo>
                      <a:pt x="34" y="84"/>
                      <a:pt x="35" y="84"/>
                      <a:pt x="36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8" y="110"/>
                      <a:pt x="45" y="117"/>
                      <a:pt x="54" y="117"/>
                    </a:cubicBezTo>
                    <a:cubicBezTo>
                      <a:pt x="100" y="117"/>
                      <a:pt x="100" y="117"/>
                      <a:pt x="100" y="117"/>
                    </a:cubicBezTo>
                    <a:cubicBezTo>
                      <a:pt x="100" y="119"/>
                      <a:pt x="100" y="119"/>
                      <a:pt x="100" y="119"/>
                    </a:cubicBezTo>
                    <a:cubicBezTo>
                      <a:pt x="100" y="119"/>
                      <a:pt x="100" y="120"/>
                      <a:pt x="100" y="120"/>
                    </a:cubicBezTo>
                    <a:cubicBezTo>
                      <a:pt x="93" y="123"/>
                      <a:pt x="89" y="130"/>
                      <a:pt x="89" y="137"/>
                    </a:cubicBezTo>
                    <a:cubicBezTo>
                      <a:pt x="89" y="147"/>
                      <a:pt x="97" y="155"/>
                      <a:pt x="107" y="155"/>
                    </a:cubicBezTo>
                    <a:cubicBezTo>
                      <a:pt x="117" y="155"/>
                      <a:pt x="125" y="147"/>
                      <a:pt x="125" y="137"/>
                    </a:cubicBezTo>
                    <a:cubicBezTo>
                      <a:pt x="125" y="130"/>
                      <a:pt x="121" y="125"/>
                      <a:pt x="116" y="121"/>
                    </a:cubicBezTo>
                    <a:cubicBezTo>
                      <a:pt x="116" y="121"/>
                      <a:pt x="116" y="120"/>
                      <a:pt x="116" y="119"/>
                    </a:cubicBezTo>
                    <a:cubicBezTo>
                      <a:pt x="116" y="117"/>
                      <a:pt x="116" y="117"/>
                      <a:pt x="116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27" y="117"/>
                      <a:pt x="134" y="110"/>
                      <a:pt x="134" y="101"/>
                    </a:cubicBezTo>
                    <a:cubicBezTo>
                      <a:pt x="134" y="101"/>
                      <a:pt x="134" y="101"/>
                      <a:pt x="134" y="101"/>
                    </a:cubicBezTo>
                    <a:cubicBezTo>
                      <a:pt x="134" y="101"/>
                      <a:pt x="134" y="101"/>
                      <a:pt x="133" y="101"/>
                    </a:cubicBezTo>
                    <a:close/>
                  </a:path>
                </a:pathLst>
              </a:custGeom>
              <a:ln w="9525">
                <a:solidFill>
                  <a:srgbClr val="0657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7" name="Freeform 4139"/>
              <p:cNvSpPr>
                <a:spLocks/>
              </p:cNvSpPr>
              <p:nvPr/>
            </p:nvSpPr>
            <p:spPr bwMode="auto">
              <a:xfrm>
                <a:off x="28303226" y="6237288"/>
                <a:ext cx="579438" cy="501650"/>
              </a:xfrm>
              <a:custGeom>
                <a:avLst/>
                <a:gdLst/>
                <a:ahLst/>
                <a:cxnLst>
                  <a:cxn ang="0">
                    <a:pos x="119" y="39"/>
                  </a:cxn>
                  <a:cxn ang="0">
                    <a:pos x="96" y="39"/>
                  </a:cxn>
                  <a:cxn ang="0">
                    <a:pos x="96" y="36"/>
                  </a:cxn>
                  <a:cxn ang="0">
                    <a:pos x="9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70" y="18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79" y="39"/>
                  </a:cxn>
                  <a:cxn ang="0">
                    <a:pos x="54" y="39"/>
                  </a:cxn>
                  <a:cxn ang="0">
                    <a:pos x="38" y="55"/>
                  </a:cxn>
                  <a:cxn ang="0">
                    <a:pos x="38" y="67"/>
                  </a:cxn>
                  <a:cxn ang="0">
                    <a:pos x="36" y="67"/>
                  </a:cxn>
                  <a:cxn ang="0">
                    <a:pos x="34" y="67"/>
                  </a:cxn>
                  <a:cxn ang="0">
                    <a:pos x="18" y="56"/>
                  </a:cxn>
                  <a:cxn ang="0">
                    <a:pos x="0" y="74"/>
                  </a:cxn>
                  <a:cxn ang="0">
                    <a:pos x="18" y="92"/>
                  </a:cxn>
                  <a:cxn ang="0">
                    <a:pos x="33" y="83"/>
                  </a:cxn>
                  <a:cxn ang="0">
                    <a:pos x="36" y="84"/>
                  </a:cxn>
                  <a:cxn ang="0">
                    <a:pos x="38" y="84"/>
                  </a:cxn>
                  <a:cxn ang="0">
                    <a:pos x="38" y="101"/>
                  </a:cxn>
                  <a:cxn ang="0">
                    <a:pos x="54" y="117"/>
                  </a:cxn>
                  <a:cxn ang="0">
                    <a:pos x="58" y="117"/>
                  </a:cxn>
                  <a:cxn ang="0">
                    <a:pos x="54" y="105"/>
                  </a:cxn>
                  <a:cxn ang="0">
                    <a:pos x="75" y="83"/>
                  </a:cxn>
                  <a:cxn ang="0">
                    <a:pos x="96" y="105"/>
                  </a:cxn>
                  <a:cxn ang="0">
                    <a:pos x="92" y="117"/>
                  </a:cxn>
                  <a:cxn ang="0">
                    <a:pos x="119" y="117"/>
                  </a:cxn>
                  <a:cxn ang="0">
                    <a:pos x="135" y="101"/>
                  </a:cxn>
                  <a:cxn ang="0">
                    <a:pos x="135" y="55"/>
                  </a:cxn>
                  <a:cxn ang="0">
                    <a:pos x="119" y="39"/>
                  </a:cxn>
                </a:cxnLst>
                <a:rect l="0" t="0" r="r" b="b"/>
                <a:pathLst>
                  <a:path w="135" h="117">
                    <a:moveTo>
                      <a:pt x="119" y="39"/>
                    </a:moveTo>
                    <a:cubicBezTo>
                      <a:pt x="96" y="39"/>
                      <a:pt x="96" y="39"/>
                      <a:pt x="96" y="39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6" y="35"/>
                      <a:pt x="96" y="35"/>
                      <a:pt x="95" y="34"/>
                    </a:cubicBezTo>
                    <a:cubicBezTo>
                      <a:pt x="102" y="32"/>
                      <a:pt x="106" y="25"/>
                      <a:pt x="106" y="18"/>
                    </a:cubicBezTo>
                    <a:cubicBezTo>
                      <a:pt x="106" y="8"/>
                      <a:pt x="98" y="0"/>
                      <a:pt x="88" y="0"/>
                    </a:cubicBezTo>
                    <a:cubicBezTo>
                      <a:pt x="78" y="0"/>
                      <a:pt x="70" y="8"/>
                      <a:pt x="70" y="18"/>
                    </a:cubicBezTo>
                    <a:cubicBezTo>
                      <a:pt x="70" y="24"/>
                      <a:pt x="74" y="30"/>
                      <a:pt x="79" y="33"/>
                    </a:cubicBezTo>
                    <a:cubicBezTo>
                      <a:pt x="79" y="34"/>
                      <a:pt x="79" y="35"/>
                      <a:pt x="79" y="36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45" y="39"/>
                      <a:pt x="38" y="46"/>
                      <a:pt x="38" y="55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5" y="67"/>
                      <a:pt x="35" y="67"/>
                      <a:pt x="34" y="67"/>
                    </a:cubicBezTo>
                    <a:cubicBezTo>
                      <a:pt x="31" y="61"/>
                      <a:pt x="25" y="56"/>
                      <a:pt x="18" y="56"/>
                    </a:cubicBezTo>
                    <a:cubicBezTo>
                      <a:pt x="8" y="56"/>
                      <a:pt x="0" y="64"/>
                      <a:pt x="0" y="74"/>
                    </a:cubicBezTo>
                    <a:cubicBezTo>
                      <a:pt x="0" y="84"/>
                      <a:pt x="8" y="92"/>
                      <a:pt x="18" y="92"/>
                    </a:cubicBezTo>
                    <a:cubicBezTo>
                      <a:pt x="24" y="92"/>
                      <a:pt x="30" y="89"/>
                      <a:pt x="33" y="83"/>
                    </a:cubicBezTo>
                    <a:cubicBezTo>
                      <a:pt x="34" y="83"/>
                      <a:pt x="35" y="84"/>
                      <a:pt x="36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8" y="110"/>
                      <a:pt x="45" y="117"/>
                      <a:pt x="54" y="117"/>
                    </a:cubicBezTo>
                    <a:cubicBezTo>
                      <a:pt x="58" y="117"/>
                      <a:pt x="58" y="117"/>
                      <a:pt x="58" y="117"/>
                    </a:cubicBezTo>
                    <a:cubicBezTo>
                      <a:pt x="55" y="113"/>
                      <a:pt x="54" y="109"/>
                      <a:pt x="54" y="105"/>
                    </a:cubicBezTo>
                    <a:cubicBezTo>
                      <a:pt x="54" y="93"/>
                      <a:pt x="63" y="83"/>
                      <a:pt x="75" y="83"/>
                    </a:cubicBezTo>
                    <a:cubicBezTo>
                      <a:pt x="87" y="83"/>
                      <a:pt x="96" y="93"/>
                      <a:pt x="96" y="105"/>
                    </a:cubicBezTo>
                    <a:cubicBezTo>
                      <a:pt x="96" y="109"/>
                      <a:pt x="95" y="113"/>
                      <a:pt x="92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28" y="117"/>
                      <a:pt x="135" y="110"/>
                      <a:pt x="135" y="101"/>
                    </a:cubicBezTo>
                    <a:cubicBezTo>
                      <a:pt x="135" y="55"/>
                      <a:pt x="135" y="55"/>
                      <a:pt x="135" y="55"/>
                    </a:cubicBezTo>
                    <a:cubicBezTo>
                      <a:pt x="135" y="46"/>
                      <a:pt x="128" y="39"/>
                      <a:pt x="119" y="39"/>
                    </a:cubicBezTo>
                    <a:close/>
                  </a:path>
                </a:pathLst>
              </a:custGeom>
              <a:ln w="9525">
                <a:solidFill>
                  <a:srgbClr val="0657A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35" name="Freeform 34"/>
            <p:cNvSpPr/>
            <p:nvPr/>
          </p:nvSpPr>
          <p:spPr>
            <a:xfrm rot="5400000" flipH="1">
              <a:off x="5158964" y="5528784"/>
              <a:ext cx="344941" cy="780524"/>
            </a:xfrm>
            <a:custGeom>
              <a:avLst/>
              <a:gdLst>
                <a:gd name="connsiteX0" fmla="*/ 374650 w 869950"/>
                <a:gd name="connsiteY0" fmla="*/ 1962150 h 1968500"/>
                <a:gd name="connsiteX1" fmla="*/ 387350 w 869950"/>
                <a:gd name="connsiteY1" fmla="*/ 1587500 h 1968500"/>
                <a:gd name="connsiteX2" fmla="*/ 0 w 869950"/>
                <a:gd name="connsiteY2" fmla="*/ 971550 h 1968500"/>
                <a:gd name="connsiteX3" fmla="*/ 508000 w 869950"/>
                <a:gd name="connsiteY3" fmla="*/ 0 h 1968500"/>
                <a:gd name="connsiteX4" fmla="*/ 571500 w 869950"/>
                <a:gd name="connsiteY4" fmla="*/ 0 h 1968500"/>
                <a:gd name="connsiteX5" fmla="*/ 603250 w 869950"/>
                <a:gd name="connsiteY5" fmla="*/ 57150 h 1968500"/>
                <a:gd name="connsiteX6" fmla="*/ 323850 w 869950"/>
                <a:gd name="connsiteY6" fmla="*/ 831850 h 1968500"/>
                <a:gd name="connsiteX7" fmla="*/ 457200 w 869950"/>
                <a:gd name="connsiteY7" fmla="*/ 882650 h 1968500"/>
                <a:gd name="connsiteX8" fmla="*/ 590550 w 869950"/>
                <a:gd name="connsiteY8" fmla="*/ 1168400 h 1968500"/>
                <a:gd name="connsiteX9" fmla="*/ 869950 w 869950"/>
                <a:gd name="connsiteY9" fmla="*/ 1358900 h 1968500"/>
                <a:gd name="connsiteX10" fmla="*/ 806450 w 869950"/>
                <a:gd name="connsiteY10" fmla="*/ 1968500 h 1968500"/>
                <a:gd name="connsiteX11" fmla="*/ 374650 w 869950"/>
                <a:gd name="connsiteY11" fmla="*/ 1962150 h 196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9950" h="1968500">
                  <a:moveTo>
                    <a:pt x="374650" y="1962150"/>
                  </a:moveTo>
                  <a:lnTo>
                    <a:pt x="387350" y="1587500"/>
                  </a:lnTo>
                  <a:lnTo>
                    <a:pt x="0" y="971550"/>
                  </a:lnTo>
                  <a:lnTo>
                    <a:pt x="508000" y="0"/>
                  </a:lnTo>
                  <a:lnTo>
                    <a:pt x="571500" y="0"/>
                  </a:lnTo>
                  <a:lnTo>
                    <a:pt x="603250" y="57150"/>
                  </a:lnTo>
                  <a:lnTo>
                    <a:pt x="323850" y="831850"/>
                  </a:lnTo>
                  <a:lnTo>
                    <a:pt x="457200" y="882650"/>
                  </a:lnTo>
                  <a:lnTo>
                    <a:pt x="590550" y="1168400"/>
                  </a:lnTo>
                  <a:lnTo>
                    <a:pt x="869950" y="1358900"/>
                  </a:lnTo>
                  <a:lnTo>
                    <a:pt x="806450" y="1968500"/>
                  </a:lnTo>
                  <a:lnTo>
                    <a:pt x="374650" y="1962150"/>
                  </a:lnTo>
                  <a:close/>
                </a:path>
              </a:pathLst>
            </a:cu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38" name="Group 37"/>
          <p:cNvGrpSpPr/>
          <p:nvPr userDrawn="1"/>
        </p:nvGrpSpPr>
        <p:grpSpPr>
          <a:xfrm rot="2714980">
            <a:off x="11207276" y="6278108"/>
            <a:ext cx="225426" cy="225427"/>
            <a:chOff x="8038821" y="2570048"/>
            <a:chExt cx="475468" cy="475467"/>
          </a:xfrm>
          <a:noFill/>
        </p:grpSpPr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8038821" y="2570048"/>
              <a:ext cx="475468" cy="475467"/>
            </a:xfrm>
            <a:custGeom>
              <a:avLst/>
              <a:gdLst>
                <a:gd name="connsiteX0" fmla="*/ 0 w 475468"/>
                <a:gd name="connsiteY0" fmla="*/ 0 h 475468"/>
                <a:gd name="connsiteX1" fmla="*/ 199656 w 475468"/>
                <a:gd name="connsiteY1" fmla="*/ 0 h 475468"/>
                <a:gd name="connsiteX2" fmla="*/ 127615 w 475468"/>
                <a:gd name="connsiteY2" fmla="*/ 69982 h 475468"/>
                <a:gd name="connsiteX3" fmla="*/ 212406 w 475468"/>
                <a:gd name="connsiteY3" fmla="*/ 158059 h 475468"/>
                <a:gd name="connsiteX4" fmla="*/ 232051 w 475468"/>
                <a:gd name="connsiteY4" fmla="*/ 154093 h 475468"/>
                <a:gd name="connsiteX5" fmla="*/ 256707 w 475468"/>
                <a:gd name="connsiteY5" fmla="*/ 159071 h 475468"/>
                <a:gd name="connsiteX6" fmla="*/ 339620 w 475468"/>
                <a:gd name="connsiteY6" fmla="*/ 76157 h 475468"/>
                <a:gd name="connsiteX7" fmla="*/ 271696 w 475468"/>
                <a:gd name="connsiteY7" fmla="*/ 8233 h 475468"/>
                <a:gd name="connsiteX8" fmla="*/ 475468 w 475468"/>
                <a:gd name="connsiteY8" fmla="*/ 0 h 475468"/>
                <a:gd name="connsiteX9" fmla="*/ 475468 w 475468"/>
                <a:gd name="connsiteY9" fmla="*/ 201714 h 475468"/>
                <a:gd name="connsiteX10" fmla="*/ 393136 w 475468"/>
                <a:gd name="connsiteY10" fmla="*/ 129673 h 475468"/>
                <a:gd name="connsiteX11" fmla="*/ 310364 w 475468"/>
                <a:gd name="connsiteY11" fmla="*/ 215654 h 475468"/>
                <a:gd name="connsiteX12" fmla="*/ 314601 w 475468"/>
                <a:gd name="connsiteY12" fmla="*/ 236643 h 475468"/>
                <a:gd name="connsiteX13" fmla="*/ 310000 w 475468"/>
                <a:gd name="connsiteY13" fmla="*/ 259436 h 475468"/>
                <a:gd name="connsiteX14" fmla="*/ 393136 w 475468"/>
                <a:gd name="connsiteY14" fmla="*/ 345795 h 475468"/>
                <a:gd name="connsiteX15" fmla="*/ 475468 w 475468"/>
                <a:gd name="connsiteY15" fmla="*/ 273754 h 475468"/>
                <a:gd name="connsiteX16" fmla="*/ 475468 w 475468"/>
                <a:gd name="connsiteY16" fmla="*/ 475468 h 475468"/>
                <a:gd name="connsiteX17" fmla="*/ 271696 w 475468"/>
                <a:gd name="connsiteY17" fmla="*/ 467235 h 475468"/>
                <a:gd name="connsiteX18" fmla="*/ 339620 w 475468"/>
                <a:gd name="connsiteY18" fmla="*/ 399311 h 475468"/>
                <a:gd name="connsiteX19" fmla="*/ 254891 w 475468"/>
                <a:gd name="connsiteY19" fmla="*/ 314582 h 475468"/>
                <a:gd name="connsiteX20" fmla="*/ 232051 w 475468"/>
                <a:gd name="connsiteY20" fmla="*/ 319193 h 475468"/>
                <a:gd name="connsiteX21" fmla="*/ 214165 w 475468"/>
                <a:gd name="connsiteY21" fmla="*/ 315582 h 475468"/>
                <a:gd name="connsiteX22" fmla="*/ 127615 w 475468"/>
                <a:gd name="connsiteY22" fmla="*/ 405486 h 475468"/>
                <a:gd name="connsiteX23" fmla="*/ 199656 w 475468"/>
                <a:gd name="connsiteY23" fmla="*/ 475468 h 475468"/>
                <a:gd name="connsiteX24" fmla="*/ 0 w 475468"/>
                <a:gd name="connsiteY24" fmla="*/ 475468 h 475468"/>
                <a:gd name="connsiteX25" fmla="*/ 0 w 475468"/>
                <a:gd name="connsiteY25" fmla="*/ 277871 h 475468"/>
                <a:gd name="connsiteX26" fmla="*/ 72041 w 475468"/>
                <a:gd name="connsiteY26" fmla="*/ 343737 h 475468"/>
                <a:gd name="connsiteX27" fmla="*/ 154479 w 475468"/>
                <a:gd name="connsiteY27" fmla="*/ 261298 h 475468"/>
                <a:gd name="connsiteX28" fmla="*/ 149501 w 475468"/>
                <a:gd name="connsiteY28" fmla="*/ 236643 h 475468"/>
                <a:gd name="connsiteX29" fmla="*/ 154112 w 475468"/>
                <a:gd name="connsiteY29" fmla="*/ 213803 h 475468"/>
                <a:gd name="connsiteX30" fmla="*/ 72041 w 475468"/>
                <a:gd name="connsiteY30" fmla="*/ 131732 h 475468"/>
                <a:gd name="connsiteX31" fmla="*/ 0 w 475468"/>
                <a:gd name="connsiteY31" fmla="*/ 197597 h 47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75468" h="475468">
                  <a:moveTo>
                    <a:pt x="0" y="0"/>
                  </a:moveTo>
                  <a:lnTo>
                    <a:pt x="199656" y="0"/>
                  </a:lnTo>
                  <a:lnTo>
                    <a:pt x="127615" y="69982"/>
                  </a:lnTo>
                  <a:lnTo>
                    <a:pt x="212406" y="158059"/>
                  </a:lnTo>
                  <a:lnTo>
                    <a:pt x="232051" y="154093"/>
                  </a:lnTo>
                  <a:lnTo>
                    <a:pt x="256707" y="159071"/>
                  </a:lnTo>
                  <a:lnTo>
                    <a:pt x="339620" y="76157"/>
                  </a:lnTo>
                  <a:lnTo>
                    <a:pt x="271696" y="8233"/>
                  </a:lnTo>
                  <a:lnTo>
                    <a:pt x="475468" y="0"/>
                  </a:lnTo>
                  <a:lnTo>
                    <a:pt x="475468" y="201714"/>
                  </a:lnTo>
                  <a:lnTo>
                    <a:pt x="393136" y="129673"/>
                  </a:lnTo>
                  <a:lnTo>
                    <a:pt x="310364" y="215654"/>
                  </a:lnTo>
                  <a:lnTo>
                    <a:pt x="314601" y="236643"/>
                  </a:lnTo>
                  <a:lnTo>
                    <a:pt x="310000" y="259436"/>
                  </a:lnTo>
                  <a:lnTo>
                    <a:pt x="393136" y="345795"/>
                  </a:lnTo>
                  <a:lnTo>
                    <a:pt x="475468" y="273754"/>
                  </a:lnTo>
                  <a:lnTo>
                    <a:pt x="475468" y="475468"/>
                  </a:lnTo>
                  <a:lnTo>
                    <a:pt x="271696" y="467235"/>
                  </a:lnTo>
                  <a:lnTo>
                    <a:pt x="339620" y="399311"/>
                  </a:lnTo>
                  <a:lnTo>
                    <a:pt x="254891" y="314582"/>
                  </a:lnTo>
                  <a:lnTo>
                    <a:pt x="232051" y="319193"/>
                  </a:lnTo>
                  <a:lnTo>
                    <a:pt x="214165" y="315582"/>
                  </a:lnTo>
                  <a:lnTo>
                    <a:pt x="127615" y="405486"/>
                  </a:lnTo>
                  <a:lnTo>
                    <a:pt x="199656" y="475468"/>
                  </a:lnTo>
                  <a:lnTo>
                    <a:pt x="0" y="475468"/>
                  </a:lnTo>
                  <a:lnTo>
                    <a:pt x="0" y="277871"/>
                  </a:lnTo>
                  <a:lnTo>
                    <a:pt x="72041" y="343737"/>
                  </a:lnTo>
                  <a:lnTo>
                    <a:pt x="154479" y="261298"/>
                  </a:lnTo>
                  <a:lnTo>
                    <a:pt x="149501" y="236643"/>
                  </a:lnTo>
                  <a:lnTo>
                    <a:pt x="154112" y="213803"/>
                  </a:lnTo>
                  <a:lnTo>
                    <a:pt x="72041" y="131732"/>
                  </a:lnTo>
                  <a:lnTo>
                    <a:pt x="0" y="197597"/>
                  </a:lnTo>
                  <a:close/>
                </a:path>
              </a:pathLst>
            </a:custGeom>
            <a:ln w="9525">
              <a:solidFill>
                <a:srgbClr val="0657A5"/>
              </a:solidFill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0" name="Oval 39"/>
            <p:cNvSpPr/>
            <p:nvPr userDrawn="1"/>
          </p:nvSpPr>
          <p:spPr>
            <a:xfrm>
              <a:off x="8229600" y="2765425"/>
              <a:ext cx="82550" cy="82550"/>
            </a:xfrm>
            <a:prstGeom prst="ellipse">
              <a:avLst/>
            </a:pr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1" name="Straight Connector 40"/>
            <p:cNvCxnSpPr/>
            <p:nvPr userDrawn="1"/>
          </p:nvCxnSpPr>
          <p:spPr>
            <a:xfrm flipV="1">
              <a:off x="8038824" y="2701788"/>
              <a:ext cx="72041" cy="63637"/>
            </a:xfrm>
            <a:prstGeom prst="line">
              <a:avLst/>
            </a:prstGeom>
            <a:ln w="9525">
              <a:solidFill>
                <a:srgbClr val="0657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0"/>
            <a:ext cx="8964612" cy="8636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937340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5061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/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0664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Open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2" y="1924738"/>
            <a:ext cx="7237505" cy="4933262"/>
          </a:xfrm>
          <a:custGeom>
            <a:avLst/>
            <a:gdLst>
              <a:gd name="connsiteX0" fmla="*/ 4395998 w 7237505"/>
              <a:gd name="connsiteY0" fmla="*/ 58 h 4933262"/>
              <a:gd name="connsiteX1" fmla="*/ 7233138 w 7237505"/>
              <a:gd name="connsiteY1" fmla="*/ 4903565 h 4933262"/>
              <a:gd name="connsiteX2" fmla="*/ 7237505 w 7237505"/>
              <a:gd name="connsiteY2" fmla="*/ 4933262 h 4933262"/>
              <a:gd name="connsiteX3" fmla="*/ 0 w 7237505"/>
              <a:gd name="connsiteY3" fmla="*/ 4933262 h 4933262"/>
              <a:gd name="connsiteX4" fmla="*/ 0 w 7237505"/>
              <a:gd name="connsiteY4" fmla="*/ 1491292 h 4933262"/>
              <a:gd name="connsiteX5" fmla="*/ 148016 w 7237505"/>
              <a:gd name="connsiteY5" fmla="*/ 1437398 h 4933262"/>
              <a:gd name="connsiteX6" fmla="*/ 3756131 w 7237505"/>
              <a:gd name="connsiteY6" fmla="*/ 123640 h 4933262"/>
              <a:gd name="connsiteX7" fmla="*/ 4395998 w 7237505"/>
              <a:gd name="connsiteY7" fmla="*/ 58 h 493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505" h="4933262">
                <a:moveTo>
                  <a:pt x="4395998" y="58"/>
                </a:moveTo>
                <a:cubicBezTo>
                  <a:pt x="6238787" y="-15730"/>
                  <a:pt x="6966936" y="3156975"/>
                  <a:pt x="7233138" y="4903565"/>
                </a:cubicBezTo>
                <a:lnTo>
                  <a:pt x="7237505" y="4933262"/>
                </a:lnTo>
                <a:lnTo>
                  <a:pt x="0" y="4933262"/>
                </a:lnTo>
                <a:lnTo>
                  <a:pt x="0" y="1491292"/>
                </a:lnTo>
                <a:lnTo>
                  <a:pt x="148016" y="1437398"/>
                </a:lnTo>
                <a:cubicBezTo>
                  <a:pt x="1090161" y="1094352"/>
                  <a:pt x="2272461" y="663862"/>
                  <a:pt x="3756131" y="123640"/>
                </a:cubicBezTo>
                <a:cubicBezTo>
                  <a:pt x="3983091" y="41001"/>
                  <a:pt x="4196102" y="1771"/>
                  <a:pt x="4395998" y="5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38784" y="1696711"/>
            <a:ext cx="464522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84457" y="609600"/>
            <a:ext cx="4905075" cy="559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545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 sz="702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 sz="702" smtClean="0"/>
            </a:lvl1pPr>
          </a:lstStyle>
          <a:p>
            <a:pPr>
              <a:defRPr/>
            </a:pPr>
            <a:r>
              <a:rPr lang="en-US" altLang="nl-NL"/>
              <a:t> </a:t>
            </a:r>
            <a:r>
              <a:rPr lang="en-US" altLang="nl-NL">
                <a:solidFill>
                  <a:srgbClr val="888888"/>
                </a:solidFill>
                <a:sym typeface="Calibri" panose="020F0502020204030204" pitchFamily="34" charset="0"/>
              </a:rPr>
              <a:t>Copyright © Capgemini 2016. All Rights Reserved </a:t>
            </a:r>
            <a:r>
              <a:rPr lang="en-US" altLang="nl-NL"/>
              <a:t>// </a:t>
            </a:r>
            <a:fld id="{73A338FD-C005-47BB-A31B-F5E0EA09ED27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4145046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D9549-84A2-4418-8907-85B8AFF2F2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6B91C8-B40B-467E-AE49-189AF0FA0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18200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8839200" y="330369"/>
            <a:ext cx="2083110" cy="2078191"/>
            <a:chOff x="3828581" y="1877862"/>
            <a:chExt cx="4664108" cy="4653094"/>
          </a:xfrm>
        </p:grpSpPr>
        <p:sp>
          <p:nvSpPr>
            <p:cNvPr id="9" name="object 7"/>
            <p:cNvSpPr/>
            <p:nvPr/>
          </p:nvSpPr>
          <p:spPr>
            <a:xfrm>
              <a:off x="7000934" y="2977126"/>
              <a:ext cx="198755" cy="490855"/>
            </a:xfrm>
            <a:custGeom>
              <a:avLst/>
              <a:gdLst/>
              <a:ahLst/>
              <a:cxnLst/>
              <a:rect l="l" t="t" r="r" b="b"/>
              <a:pathLst>
                <a:path w="198754" h="490854">
                  <a:moveTo>
                    <a:pt x="0" y="490423"/>
                  </a:moveTo>
                  <a:lnTo>
                    <a:pt x="198141" y="490423"/>
                  </a:lnTo>
                  <a:lnTo>
                    <a:pt x="198141" y="0"/>
                  </a:lnTo>
                  <a:lnTo>
                    <a:pt x="0" y="0"/>
                  </a:lnTo>
                  <a:lnTo>
                    <a:pt x="0" y="490423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0" name="object 8"/>
            <p:cNvSpPr/>
            <p:nvPr/>
          </p:nvSpPr>
          <p:spPr>
            <a:xfrm>
              <a:off x="6937699" y="4292663"/>
              <a:ext cx="376555" cy="306070"/>
            </a:xfrm>
            <a:custGeom>
              <a:avLst/>
              <a:gdLst/>
              <a:ahLst/>
              <a:cxnLst/>
              <a:rect l="l" t="t" r="r" b="b"/>
              <a:pathLst>
                <a:path w="376554" h="306070">
                  <a:moveTo>
                    <a:pt x="296964" y="0"/>
                  </a:moveTo>
                  <a:lnTo>
                    <a:pt x="1409" y="170129"/>
                  </a:lnTo>
                  <a:lnTo>
                    <a:pt x="0" y="175399"/>
                  </a:lnTo>
                  <a:lnTo>
                    <a:pt x="74091" y="304126"/>
                  </a:lnTo>
                  <a:lnTo>
                    <a:pt x="79362" y="305536"/>
                  </a:lnTo>
                  <a:lnTo>
                    <a:pt x="374916" y="135420"/>
                  </a:lnTo>
                  <a:lnTo>
                    <a:pt x="376326" y="130124"/>
                  </a:lnTo>
                  <a:lnTo>
                    <a:pt x="304596" y="5524"/>
                  </a:lnTo>
                  <a:lnTo>
                    <a:pt x="302234" y="1447"/>
                  </a:lnTo>
                  <a:lnTo>
                    <a:pt x="296964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3" name="object 9"/>
            <p:cNvSpPr/>
            <p:nvPr/>
          </p:nvSpPr>
          <p:spPr>
            <a:xfrm>
              <a:off x="7077805" y="3037070"/>
              <a:ext cx="241935" cy="650875"/>
            </a:xfrm>
            <a:custGeom>
              <a:avLst/>
              <a:gdLst/>
              <a:ahLst/>
              <a:cxnLst/>
              <a:rect l="l" t="t" r="r" b="b"/>
              <a:pathLst>
                <a:path w="241934" h="650875">
                  <a:moveTo>
                    <a:pt x="838" y="0"/>
                  </a:moveTo>
                  <a:lnTo>
                    <a:pt x="0" y="650316"/>
                  </a:lnTo>
                  <a:lnTo>
                    <a:pt x="240690" y="650621"/>
                  </a:lnTo>
                  <a:lnTo>
                    <a:pt x="241401" y="114998"/>
                  </a:lnTo>
                  <a:lnTo>
                    <a:pt x="83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4" name="object 10"/>
            <p:cNvSpPr/>
            <p:nvPr/>
          </p:nvSpPr>
          <p:spPr>
            <a:xfrm>
              <a:off x="7077805" y="3567206"/>
              <a:ext cx="240690" cy="24069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5" name="object 11"/>
            <p:cNvSpPr/>
            <p:nvPr/>
          </p:nvSpPr>
          <p:spPr>
            <a:xfrm>
              <a:off x="7078361" y="3699099"/>
              <a:ext cx="240029" cy="746760"/>
            </a:xfrm>
            <a:custGeom>
              <a:avLst/>
              <a:gdLst/>
              <a:ahLst/>
              <a:cxnLst/>
              <a:rect l="l" t="t" r="r" b="b"/>
              <a:pathLst>
                <a:path w="240029" h="746760">
                  <a:moveTo>
                    <a:pt x="0" y="0"/>
                  </a:moveTo>
                  <a:lnTo>
                    <a:pt x="73837" y="700328"/>
                  </a:lnTo>
                  <a:lnTo>
                    <a:pt x="106270" y="742907"/>
                  </a:lnTo>
                  <a:lnTo>
                    <a:pt x="124980" y="746442"/>
                  </a:lnTo>
                  <a:lnTo>
                    <a:pt x="143932" y="742861"/>
                  </a:lnTo>
                  <a:lnTo>
                    <a:pt x="159778" y="732975"/>
                  </a:lnTo>
                  <a:lnTo>
                    <a:pt x="171072" y="718101"/>
                  </a:lnTo>
                  <a:lnTo>
                    <a:pt x="176364" y="699554"/>
                  </a:lnTo>
                  <a:lnTo>
                    <a:pt x="239547" y="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6" name="object 12"/>
            <p:cNvSpPr/>
            <p:nvPr/>
          </p:nvSpPr>
          <p:spPr>
            <a:xfrm>
              <a:off x="7077798" y="3567197"/>
              <a:ext cx="240690" cy="24069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7" name="object 13"/>
            <p:cNvSpPr/>
            <p:nvPr/>
          </p:nvSpPr>
          <p:spPr>
            <a:xfrm>
              <a:off x="6753300" y="4168682"/>
              <a:ext cx="376555" cy="306070"/>
            </a:xfrm>
            <a:custGeom>
              <a:avLst/>
              <a:gdLst/>
              <a:ahLst/>
              <a:cxnLst/>
              <a:rect l="l" t="t" r="r" b="b"/>
              <a:pathLst>
                <a:path w="376554" h="306070">
                  <a:moveTo>
                    <a:pt x="296989" y="0"/>
                  </a:moveTo>
                  <a:lnTo>
                    <a:pt x="1435" y="170091"/>
                  </a:lnTo>
                  <a:lnTo>
                    <a:pt x="0" y="175386"/>
                  </a:lnTo>
                  <a:lnTo>
                    <a:pt x="2374" y="179476"/>
                  </a:lnTo>
                  <a:lnTo>
                    <a:pt x="74091" y="304088"/>
                  </a:lnTo>
                  <a:lnTo>
                    <a:pt x="79387" y="305523"/>
                  </a:lnTo>
                  <a:lnTo>
                    <a:pt x="374916" y="135381"/>
                  </a:lnTo>
                  <a:lnTo>
                    <a:pt x="376351" y="130111"/>
                  </a:lnTo>
                  <a:lnTo>
                    <a:pt x="304609" y="5511"/>
                  </a:lnTo>
                  <a:lnTo>
                    <a:pt x="302260" y="1384"/>
                  </a:lnTo>
                  <a:lnTo>
                    <a:pt x="296989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8" name="object 14"/>
            <p:cNvSpPr/>
            <p:nvPr/>
          </p:nvSpPr>
          <p:spPr>
            <a:xfrm>
              <a:off x="6759380" y="2926562"/>
              <a:ext cx="241935" cy="650875"/>
            </a:xfrm>
            <a:custGeom>
              <a:avLst/>
              <a:gdLst/>
              <a:ahLst/>
              <a:cxnLst/>
              <a:rect l="l" t="t" r="r" b="b"/>
              <a:pathLst>
                <a:path w="241934" h="650875">
                  <a:moveTo>
                    <a:pt x="838" y="0"/>
                  </a:moveTo>
                  <a:lnTo>
                    <a:pt x="0" y="650316"/>
                  </a:lnTo>
                  <a:lnTo>
                    <a:pt x="240715" y="650621"/>
                  </a:lnTo>
                  <a:lnTo>
                    <a:pt x="241553" y="317"/>
                  </a:lnTo>
                  <a:lnTo>
                    <a:pt x="83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9" name="object 15"/>
            <p:cNvSpPr/>
            <p:nvPr/>
          </p:nvSpPr>
          <p:spPr>
            <a:xfrm>
              <a:off x="6759380" y="3456673"/>
              <a:ext cx="240715" cy="240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0" name="object 16"/>
            <p:cNvSpPr/>
            <p:nvPr/>
          </p:nvSpPr>
          <p:spPr>
            <a:xfrm>
              <a:off x="6764244" y="3566255"/>
              <a:ext cx="304800" cy="755015"/>
            </a:xfrm>
            <a:custGeom>
              <a:avLst/>
              <a:gdLst/>
              <a:ahLst/>
              <a:cxnLst/>
              <a:rect l="l" t="t" r="r" b="b"/>
              <a:pathLst>
                <a:path w="304800" h="755014">
                  <a:moveTo>
                    <a:pt x="235331" y="0"/>
                  </a:moveTo>
                  <a:lnTo>
                    <a:pt x="0" y="44576"/>
                  </a:lnTo>
                  <a:lnTo>
                    <a:pt x="203758" y="718642"/>
                  </a:lnTo>
                  <a:lnTo>
                    <a:pt x="212522" y="735552"/>
                  </a:lnTo>
                  <a:lnTo>
                    <a:pt x="226339" y="747796"/>
                  </a:lnTo>
                  <a:lnTo>
                    <a:pt x="243585" y="754394"/>
                  </a:lnTo>
                  <a:lnTo>
                    <a:pt x="262636" y="754367"/>
                  </a:lnTo>
                  <a:lnTo>
                    <a:pt x="280569" y="747307"/>
                  </a:lnTo>
                  <a:lnTo>
                    <a:pt x="294282" y="734625"/>
                  </a:lnTo>
                  <a:lnTo>
                    <a:pt x="302592" y="717894"/>
                  </a:lnTo>
                  <a:lnTo>
                    <a:pt x="304317" y="698690"/>
                  </a:lnTo>
                  <a:lnTo>
                    <a:pt x="235331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1" name="object 17"/>
            <p:cNvSpPr/>
            <p:nvPr/>
          </p:nvSpPr>
          <p:spPr>
            <a:xfrm>
              <a:off x="6761498" y="3458785"/>
              <a:ext cx="236486" cy="236486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2" name="object 18"/>
            <p:cNvSpPr/>
            <p:nvPr/>
          </p:nvSpPr>
          <p:spPr>
            <a:xfrm>
              <a:off x="3855370" y="3501342"/>
              <a:ext cx="4636135" cy="2719705"/>
            </a:xfrm>
            <a:custGeom>
              <a:avLst/>
              <a:gdLst/>
              <a:ahLst/>
              <a:cxnLst/>
              <a:rect l="l" t="t" r="r" b="b"/>
              <a:pathLst>
                <a:path w="4636134" h="2719704">
                  <a:moveTo>
                    <a:pt x="1693887" y="0"/>
                  </a:moveTo>
                  <a:lnTo>
                    <a:pt x="1648590" y="2874"/>
                  </a:lnTo>
                  <a:lnTo>
                    <a:pt x="1603874" y="11620"/>
                  </a:lnTo>
                  <a:lnTo>
                    <a:pt x="1560328" y="26237"/>
                  </a:lnTo>
                  <a:lnTo>
                    <a:pt x="1518542" y="46728"/>
                  </a:lnTo>
                  <a:lnTo>
                    <a:pt x="64887" y="883505"/>
                  </a:lnTo>
                  <a:lnTo>
                    <a:pt x="28880" y="913907"/>
                  </a:lnTo>
                  <a:lnTo>
                    <a:pt x="7249" y="952635"/>
                  </a:lnTo>
                  <a:lnTo>
                    <a:pt x="0" y="995538"/>
                  </a:lnTo>
                  <a:lnTo>
                    <a:pt x="7137" y="1038462"/>
                  </a:lnTo>
                  <a:lnTo>
                    <a:pt x="28667" y="1077254"/>
                  </a:lnTo>
                  <a:lnTo>
                    <a:pt x="64595" y="1107762"/>
                  </a:lnTo>
                  <a:lnTo>
                    <a:pt x="2766545" y="2672414"/>
                  </a:lnTo>
                  <a:lnTo>
                    <a:pt x="2808277" y="2693013"/>
                  </a:lnTo>
                  <a:lnTo>
                    <a:pt x="2851785" y="2707744"/>
                  </a:lnTo>
                  <a:lnTo>
                    <a:pt x="2896478" y="2716607"/>
                  </a:lnTo>
                  <a:lnTo>
                    <a:pt x="2941769" y="2719601"/>
                  </a:lnTo>
                  <a:lnTo>
                    <a:pt x="2987067" y="2716726"/>
                  </a:lnTo>
                  <a:lnTo>
                    <a:pt x="3031784" y="2707980"/>
                  </a:lnTo>
                  <a:lnTo>
                    <a:pt x="3075330" y="2693362"/>
                  </a:lnTo>
                  <a:lnTo>
                    <a:pt x="3117116" y="2672872"/>
                  </a:lnTo>
                  <a:lnTo>
                    <a:pt x="4570758" y="1836107"/>
                  </a:lnTo>
                  <a:lnTo>
                    <a:pt x="4606766" y="1805704"/>
                  </a:lnTo>
                  <a:lnTo>
                    <a:pt x="4628399" y="1766974"/>
                  </a:lnTo>
                  <a:lnTo>
                    <a:pt x="4635652" y="1724069"/>
                  </a:lnTo>
                  <a:lnTo>
                    <a:pt x="4628518" y="1681144"/>
                  </a:lnTo>
                  <a:lnTo>
                    <a:pt x="4606990" y="1642353"/>
                  </a:lnTo>
                  <a:lnTo>
                    <a:pt x="4571063" y="1611850"/>
                  </a:lnTo>
                  <a:lnTo>
                    <a:pt x="1869100" y="47197"/>
                  </a:lnTo>
                  <a:lnTo>
                    <a:pt x="1827372" y="26595"/>
                  </a:lnTo>
                  <a:lnTo>
                    <a:pt x="1783868" y="11861"/>
                  </a:lnTo>
                  <a:lnTo>
                    <a:pt x="1739176" y="2995"/>
                  </a:lnTo>
                  <a:lnTo>
                    <a:pt x="1693887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3" name="object 19"/>
            <p:cNvSpPr/>
            <p:nvPr/>
          </p:nvSpPr>
          <p:spPr>
            <a:xfrm>
              <a:off x="3856215" y="2828679"/>
              <a:ext cx="4636135" cy="2738755"/>
            </a:xfrm>
            <a:custGeom>
              <a:avLst/>
              <a:gdLst/>
              <a:ahLst/>
              <a:cxnLst/>
              <a:rect l="l" t="t" r="r" b="b"/>
              <a:pathLst>
                <a:path w="4636134" h="2738754">
                  <a:moveTo>
                    <a:pt x="1693900" y="0"/>
                  </a:moveTo>
                  <a:lnTo>
                    <a:pt x="1648601" y="2877"/>
                  </a:lnTo>
                  <a:lnTo>
                    <a:pt x="1603885" y="11625"/>
                  </a:lnTo>
                  <a:lnTo>
                    <a:pt x="1560343" y="26246"/>
                  </a:lnTo>
                  <a:lnTo>
                    <a:pt x="1518564" y="46740"/>
                  </a:lnTo>
                  <a:lnTo>
                    <a:pt x="285788" y="756353"/>
                  </a:lnTo>
                  <a:lnTo>
                    <a:pt x="329" y="756353"/>
                  </a:lnTo>
                  <a:lnTo>
                    <a:pt x="0" y="1014518"/>
                  </a:lnTo>
                  <a:lnTo>
                    <a:pt x="16109" y="1077629"/>
                  </a:lnTo>
                  <a:lnTo>
                    <a:pt x="64604" y="1126748"/>
                  </a:lnTo>
                  <a:lnTo>
                    <a:pt x="2766542" y="2691401"/>
                  </a:lnTo>
                  <a:lnTo>
                    <a:pt x="2808271" y="2712002"/>
                  </a:lnTo>
                  <a:lnTo>
                    <a:pt x="2851778" y="2726734"/>
                  </a:lnTo>
                  <a:lnTo>
                    <a:pt x="2896473" y="2735595"/>
                  </a:lnTo>
                  <a:lnTo>
                    <a:pt x="2941766" y="2738586"/>
                  </a:lnTo>
                  <a:lnTo>
                    <a:pt x="2987066" y="2735707"/>
                  </a:lnTo>
                  <a:lnTo>
                    <a:pt x="3031784" y="2726957"/>
                  </a:lnTo>
                  <a:lnTo>
                    <a:pt x="3075330" y="2712337"/>
                  </a:lnTo>
                  <a:lnTo>
                    <a:pt x="3117113" y="2691845"/>
                  </a:lnTo>
                  <a:lnTo>
                    <a:pt x="4570755" y="1855106"/>
                  </a:lnTo>
                  <a:lnTo>
                    <a:pt x="4620112" y="1804704"/>
                  </a:lnTo>
                  <a:lnTo>
                    <a:pt x="4635550" y="1739930"/>
                  </a:lnTo>
                  <a:lnTo>
                    <a:pt x="4635906" y="1481383"/>
                  </a:lnTo>
                  <a:lnTo>
                    <a:pt x="4345127" y="1480989"/>
                  </a:lnTo>
                  <a:lnTo>
                    <a:pt x="3093726" y="756353"/>
                  </a:lnTo>
                  <a:lnTo>
                    <a:pt x="285788" y="756353"/>
                  </a:lnTo>
                  <a:lnTo>
                    <a:pt x="3093090" y="755984"/>
                  </a:lnTo>
                  <a:lnTo>
                    <a:pt x="1869122" y="47185"/>
                  </a:lnTo>
                  <a:lnTo>
                    <a:pt x="1827393" y="26587"/>
                  </a:lnTo>
                  <a:lnTo>
                    <a:pt x="1783886" y="11856"/>
                  </a:lnTo>
                  <a:lnTo>
                    <a:pt x="1739192" y="2993"/>
                  </a:lnTo>
                  <a:lnTo>
                    <a:pt x="1693900" y="0"/>
                  </a:lnTo>
                  <a:close/>
                </a:path>
              </a:pathLst>
            </a:custGeom>
            <a:solidFill>
              <a:srgbClr val="098DB7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4" name="object 20"/>
            <p:cNvSpPr/>
            <p:nvPr/>
          </p:nvSpPr>
          <p:spPr>
            <a:xfrm>
              <a:off x="3856554" y="2589123"/>
              <a:ext cx="4636135" cy="2719705"/>
            </a:xfrm>
            <a:custGeom>
              <a:avLst/>
              <a:gdLst/>
              <a:ahLst/>
              <a:cxnLst/>
              <a:rect l="l" t="t" r="r" b="b"/>
              <a:pathLst>
                <a:path w="4636134" h="2719704">
                  <a:moveTo>
                    <a:pt x="1693876" y="0"/>
                  </a:moveTo>
                  <a:lnTo>
                    <a:pt x="1648576" y="2877"/>
                  </a:lnTo>
                  <a:lnTo>
                    <a:pt x="1603857" y="11627"/>
                  </a:lnTo>
                  <a:lnTo>
                    <a:pt x="1560308" y="26251"/>
                  </a:lnTo>
                  <a:lnTo>
                    <a:pt x="1518521" y="46750"/>
                  </a:lnTo>
                  <a:lnTo>
                    <a:pt x="64892" y="883502"/>
                  </a:lnTo>
                  <a:lnTo>
                    <a:pt x="28884" y="913914"/>
                  </a:lnTo>
                  <a:lnTo>
                    <a:pt x="7251" y="952649"/>
                  </a:lnTo>
                  <a:lnTo>
                    <a:pt x="0" y="995554"/>
                  </a:lnTo>
                  <a:lnTo>
                    <a:pt x="7136" y="1038476"/>
                  </a:lnTo>
                  <a:lnTo>
                    <a:pt x="28667" y="1077262"/>
                  </a:lnTo>
                  <a:lnTo>
                    <a:pt x="64600" y="1107759"/>
                  </a:lnTo>
                  <a:lnTo>
                    <a:pt x="2766550" y="2672411"/>
                  </a:lnTo>
                  <a:lnTo>
                    <a:pt x="2808275" y="2693010"/>
                  </a:lnTo>
                  <a:lnTo>
                    <a:pt x="2851778" y="2707741"/>
                  </a:lnTo>
                  <a:lnTo>
                    <a:pt x="2896471" y="2716604"/>
                  </a:lnTo>
                  <a:lnTo>
                    <a:pt x="2941761" y="2719598"/>
                  </a:lnTo>
                  <a:lnTo>
                    <a:pt x="2987059" y="2716723"/>
                  </a:lnTo>
                  <a:lnTo>
                    <a:pt x="3031774" y="2707976"/>
                  </a:lnTo>
                  <a:lnTo>
                    <a:pt x="3075317" y="2693359"/>
                  </a:lnTo>
                  <a:lnTo>
                    <a:pt x="3117095" y="2672868"/>
                  </a:lnTo>
                  <a:lnTo>
                    <a:pt x="4570763" y="1836129"/>
                  </a:lnTo>
                  <a:lnTo>
                    <a:pt x="4606769" y="1805716"/>
                  </a:lnTo>
                  <a:lnTo>
                    <a:pt x="4628397" y="1766978"/>
                  </a:lnTo>
                  <a:lnTo>
                    <a:pt x="4635644" y="1724071"/>
                  </a:lnTo>
                  <a:lnTo>
                    <a:pt x="4628504" y="1681146"/>
                  </a:lnTo>
                  <a:lnTo>
                    <a:pt x="4606971" y="1642358"/>
                  </a:lnTo>
                  <a:lnTo>
                    <a:pt x="4571042" y="1611860"/>
                  </a:lnTo>
                  <a:lnTo>
                    <a:pt x="1869079" y="47194"/>
                  </a:lnTo>
                  <a:lnTo>
                    <a:pt x="1827359" y="26592"/>
                  </a:lnTo>
                  <a:lnTo>
                    <a:pt x="1783858" y="11858"/>
                  </a:lnTo>
                  <a:lnTo>
                    <a:pt x="1739167" y="2993"/>
                  </a:lnTo>
                  <a:lnTo>
                    <a:pt x="1693876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5" name="object 21"/>
            <p:cNvSpPr/>
            <p:nvPr/>
          </p:nvSpPr>
          <p:spPr>
            <a:xfrm>
              <a:off x="4285462" y="2824848"/>
              <a:ext cx="3533222" cy="208262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6" name="object 22"/>
            <p:cNvSpPr/>
            <p:nvPr/>
          </p:nvSpPr>
          <p:spPr>
            <a:xfrm>
              <a:off x="3828581" y="1877862"/>
              <a:ext cx="3793816" cy="348488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7" name="object 23"/>
            <p:cNvSpPr/>
            <p:nvPr/>
          </p:nvSpPr>
          <p:spPr>
            <a:xfrm>
              <a:off x="4921904" y="5664648"/>
              <a:ext cx="540385" cy="838200"/>
            </a:xfrm>
            <a:custGeom>
              <a:avLst/>
              <a:gdLst/>
              <a:ahLst/>
              <a:cxnLst/>
              <a:rect l="l" t="t" r="r" b="b"/>
              <a:pathLst>
                <a:path w="540385" h="838200">
                  <a:moveTo>
                    <a:pt x="81621" y="0"/>
                  </a:moveTo>
                  <a:lnTo>
                    <a:pt x="72147" y="1105"/>
                  </a:lnTo>
                  <a:lnTo>
                    <a:pt x="63792" y="5056"/>
                  </a:lnTo>
                  <a:lnTo>
                    <a:pt x="0" y="41162"/>
                  </a:lnTo>
                  <a:lnTo>
                    <a:pt x="14282" y="63768"/>
                  </a:lnTo>
                  <a:lnTo>
                    <a:pt x="23628" y="79898"/>
                  </a:lnTo>
                  <a:lnTo>
                    <a:pt x="32164" y="97288"/>
                  </a:lnTo>
                  <a:lnTo>
                    <a:pt x="44018" y="123674"/>
                  </a:lnTo>
                  <a:lnTo>
                    <a:pt x="44018" y="466485"/>
                  </a:lnTo>
                  <a:lnTo>
                    <a:pt x="48679" y="499815"/>
                  </a:lnTo>
                  <a:lnTo>
                    <a:pt x="61379" y="532155"/>
                  </a:lnTo>
                  <a:lnTo>
                    <a:pt x="80194" y="559873"/>
                  </a:lnTo>
                  <a:lnTo>
                    <a:pt x="103200" y="579337"/>
                  </a:lnTo>
                  <a:lnTo>
                    <a:pt x="412292" y="757823"/>
                  </a:lnTo>
                  <a:lnTo>
                    <a:pt x="432018" y="790850"/>
                  </a:lnTo>
                  <a:lnTo>
                    <a:pt x="447281" y="816182"/>
                  </a:lnTo>
                  <a:lnTo>
                    <a:pt x="460629" y="838138"/>
                  </a:lnTo>
                  <a:lnTo>
                    <a:pt x="520395" y="803657"/>
                  </a:lnTo>
                  <a:lnTo>
                    <a:pt x="529072" y="796841"/>
                  </a:lnTo>
                  <a:lnTo>
                    <a:pt x="535271" y="786234"/>
                  </a:lnTo>
                  <a:lnTo>
                    <a:pt x="538992" y="772010"/>
                  </a:lnTo>
                  <a:lnTo>
                    <a:pt x="540232" y="754445"/>
                  </a:lnTo>
                  <a:lnTo>
                    <a:pt x="540232" y="339624"/>
                  </a:lnTo>
                  <a:lnTo>
                    <a:pt x="523627" y="273954"/>
                  </a:lnTo>
                  <a:lnTo>
                    <a:pt x="482561" y="226772"/>
                  </a:lnTo>
                  <a:lnTo>
                    <a:pt x="103403" y="7011"/>
                  </a:lnTo>
                  <a:lnTo>
                    <a:pt x="92083" y="1911"/>
                  </a:lnTo>
                  <a:lnTo>
                    <a:pt x="81621" y="0"/>
                  </a:lnTo>
                  <a:close/>
                </a:path>
                <a:path w="540385" h="838200">
                  <a:moveTo>
                    <a:pt x="63855" y="5005"/>
                  </a:moveTo>
                  <a:close/>
                </a:path>
              </a:pathLst>
            </a:custGeom>
            <a:solidFill>
              <a:srgbClr val="005A82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8" name="object 24"/>
            <p:cNvSpPr/>
            <p:nvPr/>
          </p:nvSpPr>
          <p:spPr>
            <a:xfrm>
              <a:off x="4900665" y="5702791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5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9" name="object 25"/>
            <p:cNvSpPr/>
            <p:nvPr/>
          </p:nvSpPr>
          <p:spPr>
            <a:xfrm>
              <a:off x="4850598" y="5724506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0" name="object 26"/>
            <p:cNvSpPr/>
            <p:nvPr/>
          </p:nvSpPr>
          <p:spPr>
            <a:xfrm>
              <a:off x="4944460" y="5946620"/>
              <a:ext cx="137985" cy="236740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1" name="object 27"/>
            <p:cNvSpPr/>
            <p:nvPr/>
          </p:nvSpPr>
          <p:spPr>
            <a:xfrm>
              <a:off x="5214956" y="6051774"/>
              <a:ext cx="139039" cy="23795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2" name="object 28"/>
            <p:cNvSpPr/>
            <p:nvPr/>
          </p:nvSpPr>
          <p:spPr>
            <a:xfrm>
              <a:off x="5095697" y="5978578"/>
              <a:ext cx="116839" cy="290195"/>
            </a:xfrm>
            <a:custGeom>
              <a:avLst/>
              <a:gdLst/>
              <a:ahLst/>
              <a:cxnLst/>
              <a:rect l="l" t="t" r="r" b="b"/>
              <a:pathLst>
                <a:path w="116839" h="290195">
                  <a:moveTo>
                    <a:pt x="75399" y="0"/>
                  </a:moveTo>
                  <a:lnTo>
                    <a:pt x="0" y="278485"/>
                  </a:lnTo>
                  <a:lnTo>
                    <a:pt x="41338" y="289674"/>
                  </a:lnTo>
                  <a:lnTo>
                    <a:pt x="116751" y="11201"/>
                  </a:lnTo>
                  <a:lnTo>
                    <a:pt x="75399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3" name="object 29"/>
            <p:cNvSpPr/>
            <p:nvPr/>
          </p:nvSpPr>
          <p:spPr>
            <a:xfrm>
              <a:off x="4916030" y="4884051"/>
              <a:ext cx="546112" cy="838161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4" name="object 30"/>
            <p:cNvSpPr/>
            <p:nvPr/>
          </p:nvSpPr>
          <p:spPr>
            <a:xfrm>
              <a:off x="4895207" y="4922224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CB298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5" name="object 31"/>
            <p:cNvSpPr/>
            <p:nvPr/>
          </p:nvSpPr>
          <p:spPr>
            <a:xfrm>
              <a:off x="4841741" y="4956914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FF7E83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6" name="object 32"/>
            <p:cNvSpPr/>
            <p:nvPr/>
          </p:nvSpPr>
          <p:spPr>
            <a:xfrm>
              <a:off x="5184498" y="5175336"/>
              <a:ext cx="93980" cy="368935"/>
            </a:xfrm>
            <a:custGeom>
              <a:avLst/>
              <a:gdLst/>
              <a:ahLst/>
              <a:cxnLst/>
              <a:rect l="l" t="t" r="r" b="b"/>
              <a:pathLst>
                <a:path w="93979" h="368935">
                  <a:moveTo>
                    <a:pt x="0" y="315607"/>
                  </a:moveTo>
                  <a:lnTo>
                    <a:pt x="0" y="347078"/>
                  </a:lnTo>
                  <a:lnTo>
                    <a:pt x="22148" y="359879"/>
                  </a:lnTo>
                  <a:lnTo>
                    <a:pt x="42245" y="368654"/>
                  </a:lnTo>
                  <a:lnTo>
                    <a:pt x="56270" y="367266"/>
                  </a:lnTo>
                  <a:lnTo>
                    <a:pt x="64489" y="354355"/>
                  </a:lnTo>
                  <a:lnTo>
                    <a:pt x="67170" y="328561"/>
                  </a:lnTo>
                  <a:lnTo>
                    <a:pt x="67027" y="323451"/>
                  </a:lnTo>
                  <a:lnTo>
                    <a:pt x="15824" y="323451"/>
                  </a:lnTo>
                  <a:lnTo>
                    <a:pt x="6680" y="319468"/>
                  </a:lnTo>
                  <a:lnTo>
                    <a:pt x="0" y="315607"/>
                  </a:lnTo>
                  <a:close/>
                </a:path>
                <a:path w="93979" h="368935">
                  <a:moveTo>
                    <a:pt x="38455" y="201663"/>
                  </a:moveTo>
                  <a:lnTo>
                    <a:pt x="30333" y="205787"/>
                  </a:lnTo>
                  <a:lnTo>
                    <a:pt x="25508" y="216660"/>
                  </a:lnTo>
                  <a:lnTo>
                    <a:pt x="23914" y="235381"/>
                  </a:lnTo>
                  <a:lnTo>
                    <a:pt x="24134" y="253106"/>
                  </a:lnTo>
                  <a:lnTo>
                    <a:pt x="25103" y="285841"/>
                  </a:lnTo>
                  <a:lnTo>
                    <a:pt x="25323" y="301980"/>
                  </a:lnTo>
                  <a:lnTo>
                    <a:pt x="24487" y="315271"/>
                  </a:lnTo>
                  <a:lnTo>
                    <a:pt x="21540" y="322240"/>
                  </a:lnTo>
                  <a:lnTo>
                    <a:pt x="15824" y="323451"/>
                  </a:lnTo>
                  <a:lnTo>
                    <a:pt x="67027" y="323451"/>
                  </a:lnTo>
                  <a:lnTo>
                    <a:pt x="66622" y="308949"/>
                  </a:lnTo>
                  <a:lnTo>
                    <a:pt x="65417" y="291830"/>
                  </a:lnTo>
                  <a:lnTo>
                    <a:pt x="64212" y="275315"/>
                  </a:lnTo>
                  <a:lnTo>
                    <a:pt x="63665" y="257517"/>
                  </a:lnTo>
                  <a:lnTo>
                    <a:pt x="65175" y="247878"/>
                  </a:lnTo>
                  <a:lnTo>
                    <a:pt x="70211" y="241369"/>
                  </a:lnTo>
                  <a:lnTo>
                    <a:pt x="79534" y="239833"/>
                  </a:lnTo>
                  <a:lnTo>
                    <a:pt x="93903" y="239833"/>
                  </a:lnTo>
                  <a:lnTo>
                    <a:pt x="93903" y="210413"/>
                  </a:lnTo>
                  <a:lnTo>
                    <a:pt x="84735" y="203187"/>
                  </a:lnTo>
                  <a:lnTo>
                    <a:pt x="49936" y="203187"/>
                  </a:lnTo>
                  <a:lnTo>
                    <a:pt x="38455" y="201663"/>
                  </a:lnTo>
                  <a:close/>
                </a:path>
                <a:path w="93979" h="368935">
                  <a:moveTo>
                    <a:pt x="93903" y="239833"/>
                  </a:moveTo>
                  <a:lnTo>
                    <a:pt x="79534" y="239833"/>
                  </a:lnTo>
                  <a:lnTo>
                    <a:pt x="93903" y="245109"/>
                  </a:lnTo>
                  <a:lnTo>
                    <a:pt x="93903" y="239833"/>
                  </a:lnTo>
                  <a:close/>
                </a:path>
                <a:path w="93979" h="368935">
                  <a:moveTo>
                    <a:pt x="0" y="0"/>
                  </a:moveTo>
                  <a:lnTo>
                    <a:pt x="0" y="31483"/>
                  </a:lnTo>
                  <a:lnTo>
                    <a:pt x="6680" y="35344"/>
                  </a:lnTo>
                  <a:lnTo>
                    <a:pt x="15824" y="41913"/>
                  </a:lnTo>
                  <a:lnTo>
                    <a:pt x="21540" y="49722"/>
                  </a:lnTo>
                  <a:lnTo>
                    <a:pt x="24487" y="60095"/>
                  </a:lnTo>
                  <a:lnTo>
                    <a:pt x="25323" y="74358"/>
                  </a:lnTo>
                  <a:lnTo>
                    <a:pt x="25103" y="90241"/>
                  </a:lnTo>
                  <a:lnTo>
                    <a:pt x="24134" y="121855"/>
                  </a:lnTo>
                  <a:lnTo>
                    <a:pt x="23914" y="139331"/>
                  </a:lnTo>
                  <a:lnTo>
                    <a:pt x="25508" y="159887"/>
                  </a:lnTo>
                  <a:lnTo>
                    <a:pt x="30333" y="176329"/>
                  </a:lnTo>
                  <a:lnTo>
                    <a:pt x="38455" y="189834"/>
                  </a:lnTo>
                  <a:lnTo>
                    <a:pt x="49936" y="201574"/>
                  </a:lnTo>
                  <a:lnTo>
                    <a:pt x="49936" y="203187"/>
                  </a:lnTo>
                  <a:lnTo>
                    <a:pt x="84735" y="203187"/>
                  </a:lnTo>
                  <a:lnTo>
                    <a:pt x="79534" y="199088"/>
                  </a:lnTo>
                  <a:lnTo>
                    <a:pt x="70211" y="186785"/>
                  </a:lnTo>
                  <a:lnTo>
                    <a:pt x="65175" y="174462"/>
                  </a:lnTo>
                  <a:lnTo>
                    <a:pt x="63665" y="163080"/>
                  </a:lnTo>
                  <a:lnTo>
                    <a:pt x="64212" y="145917"/>
                  </a:lnTo>
                  <a:lnTo>
                    <a:pt x="65417" y="130800"/>
                  </a:lnTo>
                  <a:lnTo>
                    <a:pt x="66622" y="115078"/>
                  </a:lnTo>
                  <a:lnTo>
                    <a:pt x="64489" y="67202"/>
                  </a:lnTo>
                  <a:lnTo>
                    <a:pt x="42245" y="27213"/>
                  </a:lnTo>
                  <a:lnTo>
                    <a:pt x="22148" y="127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7" name="object 33"/>
            <p:cNvSpPr/>
            <p:nvPr/>
          </p:nvSpPr>
          <p:spPr>
            <a:xfrm>
              <a:off x="4980703" y="5090323"/>
              <a:ext cx="93980" cy="368935"/>
            </a:xfrm>
            <a:custGeom>
              <a:avLst/>
              <a:gdLst/>
              <a:ahLst/>
              <a:cxnLst/>
              <a:rect l="l" t="t" r="r" b="b"/>
              <a:pathLst>
                <a:path w="93979" h="368935">
                  <a:moveTo>
                    <a:pt x="0" y="123544"/>
                  </a:moveTo>
                  <a:lnTo>
                    <a:pt x="0" y="158253"/>
                  </a:lnTo>
                  <a:lnTo>
                    <a:pt x="14368" y="169570"/>
                  </a:lnTo>
                  <a:lnTo>
                    <a:pt x="23691" y="181870"/>
                  </a:lnTo>
                  <a:lnTo>
                    <a:pt x="28728" y="194191"/>
                  </a:lnTo>
                  <a:lnTo>
                    <a:pt x="30238" y="205573"/>
                  </a:lnTo>
                  <a:lnTo>
                    <a:pt x="29691" y="222743"/>
                  </a:lnTo>
                  <a:lnTo>
                    <a:pt x="28486" y="237864"/>
                  </a:lnTo>
                  <a:lnTo>
                    <a:pt x="27281" y="253588"/>
                  </a:lnTo>
                  <a:lnTo>
                    <a:pt x="29413" y="301456"/>
                  </a:lnTo>
                  <a:lnTo>
                    <a:pt x="51658" y="341440"/>
                  </a:lnTo>
                  <a:lnTo>
                    <a:pt x="93903" y="368654"/>
                  </a:lnTo>
                  <a:lnTo>
                    <a:pt x="93903" y="337183"/>
                  </a:lnTo>
                  <a:lnTo>
                    <a:pt x="87223" y="333322"/>
                  </a:lnTo>
                  <a:lnTo>
                    <a:pt x="78079" y="326747"/>
                  </a:lnTo>
                  <a:lnTo>
                    <a:pt x="72363" y="318939"/>
                  </a:lnTo>
                  <a:lnTo>
                    <a:pt x="69416" y="308569"/>
                  </a:lnTo>
                  <a:lnTo>
                    <a:pt x="68580" y="294308"/>
                  </a:lnTo>
                  <a:lnTo>
                    <a:pt x="68800" y="278425"/>
                  </a:lnTo>
                  <a:lnTo>
                    <a:pt x="69769" y="246811"/>
                  </a:lnTo>
                  <a:lnTo>
                    <a:pt x="69989" y="229335"/>
                  </a:lnTo>
                  <a:lnTo>
                    <a:pt x="68395" y="208777"/>
                  </a:lnTo>
                  <a:lnTo>
                    <a:pt x="63569" y="192331"/>
                  </a:lnTo>
                  <a:lnTo>
                    <a:pt x="55448" y="178826"/>
                  </a:lnTo>
                  <a:lnTo>
                    <a:pt x="43967" y="167092"/>
                  </a:lnTo>
                  <a:lnTo>
                    <a:pt x="43967" y="165479"/>
                  </a:lnTo>
                  <a:lnTo>
                    <a:pt x="58433" y="165479"/>
                  </a:lnTo>
                  <a:lnTo>
                    <a:pt x="63569" y="162869"/>
                  </a:lnTo>
                  <a:lnTo>
                    <a:pt x="68395" y="151999"/>
                  </a:lnTo>
                  <a:lnTo>
                    <a:pt x="69989" y="133284"/>
                  </a:lnTo>
                  <a:lnTo>
                    <a:pt x="69934" y="128822"/>
                  </a:lnTo>
                  <a:lnTo>
                    <a:pt x="14368" y="128822"/>
                  </a:lnTo>
                  <a:lnTo>
                    <a:pt x="0" y="123544"/>
                  </a:lnTo>
                  <a:close/>
                </a:path>
                <a:path w="93979" h="368935">
                  <a:moveTo>
                    <a:pt x="58433" y="165479"/>
                  </a:moveTo>
                  <a:lnTo>
                    <a:pt x="43967" y="165479"/>
                  </a:lnTo>
                  <a:lnTo>
                    <a:pt x="55448" y="166996"/>
                  </a:lnTo>
                  <a:lnTo>
                    <a:pt x="58433" y="165479"/>
                  </a:lnTo>
                  <a:close/>
                </a:path>
                <a:path w="93979" h="368935">
                  <a:moveTo>
                    <a:pt x="51658" y="0"/>
                  </a:moveTo>
                  <a:lnTo>
                    <a:pt x="37633" y="1389"/>
                  </a:lnTo>
                  <a:lnTo>
                    <a:pt x="29413" y="14303"/>
                  </a:lnTo>
                  <a:lnTo>
                    <a:pt x="26733" y="40105"/>
                  </a:lnTo>
                  <a:lnTo>
                    <a:pt x="27281" y="59715"/>
                  </a:lnTo>
                  <a:lnTo>
                    <a:pt x="28486" y="76830"/>
                  </a:lnTo>
                  <a:lnTo>
                    <a:pt x="29691" y="93340"/>
                  </a:lnTo>
                  <a:lnTo>
                    <a:pt x="30238" y="111136"/>
                  </a:lnTo>
                  <a:lnTo>
                    <a:pt x="28728" y="120781"/>
                  </a:lnTo>
                  <a:lnTo>
                    <a:pt x="23691" y="127288"/>
                  </a:lnTo>
                  <a:lnTo>
                    <a:pt x="14368" y="128822"/>
                  </a:lnTo>
                  <a:lnTo>
                    <a:pt x="69934" y="128822"/>
                  </a:lnTo>
                  <a:lnTo>
                    <a:pt x="69769" y="115554"/>
                  </a:lnTo>
                  <a:lnTo>
                    <a:pt x="68800" y="82823"/>
                  </a:lnTo>
                  <a:lnTo>
                    <a:pt x="68580" y="66686"/>
                  </a:lnTo>
                  <a:lnTo>
                    <a:pt x="69416" y="53388"/>
                  </a:lnTo>
                  <a:lnTo>
                    <a:pt x="72363" y="46416"/>
                  </a:lnTo>
                  <a:lnTo>
                    <a:pt x="78079" y="45208"/>
                  </a:lnTo>
                  <a:lnTo>
                    <a:pt x="93903" y="45208"/>
                  </a:lnTo>
                  <a:lnTo>
                    <a:pt x="93903" y="21575"/>
                  </a:lnTo>
                  <a:lnTo>
                    <a:pt x="71755" y="8774"/>
                  </a:lnTo>
                  <a:lnTo>
                    <a:pt x="51658" y="0"/>
                  </a:lnTo>
                  <a:close/>
                </a:path>
                <a:path w="93979" h="368935">
                  <a:moveTo>
                    <a:pt x="93903" y="45208"/>
                  </a:moveTo>
                  <a:lnTo>
                    <a:pt x="78079" y="45208"/>
                  </a:lnTo>
                  <a:lnTo>
                    <a:pt x="87223" y="49198"/>
                  </a:lnTo>
                  <a:lnTo>
                    <a:pt x="93903" y="53046"/>
                  </a:lnTo>
                  <a:lnTo>
                    <a:pt x="93903" y="45208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8" name="object 34"/>
            <p:cNvSpPr/>
            <p:nvPr/>
          </p:nvSpPr>
          <p:spPr>
            <a:xfrm>
              <a:off x="4133997" y="4574616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74" y="806244"/>
                  </a:lnTo>
                  <a:lnTo>
                    <a:pt x="481450" y="800206"/>
                  </a:lnTo>
                  <a:lnTo>
                    <a:pt x="494111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0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7922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41222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972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6553200" y="1"/>
            <a:ext cx="5638800" cy="5355237"/>
          </a:xfrm>
          <a:custGeom>
            <a:avLst/>
            <a:gdLst>
              <a:gd name="connsiteX0" fmla="*/ 0 w 5638800"/>
              <a:gd name="connsiteY0" fmla="*/ 0 h 5355237"/>
              <a:gd name="connsiteX1" fmla="*/ 5638800 w 5638800"/>
              <a:gd name="connsiteY1" fmla="*/ 0 h 5355237"/>
              <a:gd name="connsiteX2" fmla="*/ 5638800 w 5638800"/>
              <a:gd name="connsiteY2" fmla="*/ 262266 h 5355237"/>
              <a:gd name="connsiteX3" fmla="*/ 5638800 w 5638800"/>
              <a:gd name="connsiteY3" fmla="*/ 4904579 h 5355237"/>
              <a:gd name="connsiteX4" fmla="*/ 0 w 5638800"/>
              <a:gd name="connsiteY4" fmla="*/ 3724580 h 5355237"/>
              <a:gd name="connsiteX5" fmla="*/ 0 w 5638800"/>
              <a:gd name="connsiteY5" fmla="*/ 298668 h 5355237"/>
              <a:gd name="connsiteX6" fmla="*/ 0 w 5638800"/>
              <a:gd name="connsiteY6" fmla="*/ 0 h 535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38800" h="5355237">
                <a:moveTo>
                  <a:pt x="0" y="0"/>
                </a:moveTo>
                <a:lnTo>
                  <a:pt x="5638800" y="0"/>
                </a:lnTo>
                <a:lnTo>
                  <a:pt x="5638800" y="262266"/>
                </a:lnTo>
                <a:cubicBezTo>
                  <a:pt x="5638800" y="4904579"/>
                  <a:pt x="5638800" y="4904579"/>
                  <a:pt x="5638800" y="4904579"/>
                </a:cubicBezTo>
                <a:cubicBezTo>
                  <a:pt x="4971047" y="5074669"/>
                  <a:pt x="0" y="6329082"/>
                  <a:pt x="0" y="3724580"/>
                </a:cubicBezTo>
                <a:cubicBezTo>
                  <a:pt x="0" y="2292104"/>
                  <a:pt x="0" y="1172982"/>
                  <a:pt x="0" y="29866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792932" y="8382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92932" y="17526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2751" y="1337969"/>
            <a:ext cx="5777031" cy="51876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813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31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Sogeti. All rights reserved.</a:t>
            </a:r>
          </a:p>
        </p:txBody>
      </p:sp>
      <p:cxnSp>
        <p:nvCxnSpPr>
          <p:cNvPr id="33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2" y="0"/>
            <a:ext cx="9973295" cy="4193362"/>
          </a:xfrm>
          <a:custGeom>
            <a:avLst/>
            <a:gdLst>
              <a:gd name="connsiteX0" fmla="*/ 0 w 9973295"/>
              <a:gd name="connsiteY0" fmla="*/ 0 h 4193362"/>
              <a:gd name="connsiteX1" fmla="*/ 9912010 w 9973295"/>
              <a:gd name="connsiteY1" fmla="*/ 0 h 4193362"/>
              <a:gd name="connsiteX2" fmla="*/ 9927053 w 9973295"/>
              <a:gd name="connsiteY2" fmla="*/ 149768 h 4193362"/>
              <a:gd name="connsiteX3" fmla="*/ 7984937 w 9973295"/>
              <a:gd name="connsiteY3" fmla="*/ 4193362 h 4193362"/>
              <a:gd name="connsiteX4" fmla="*/ 0 w 9973295"/>
              <a:gd name="connsiteY4" fmla="*/ 4193362 h 4193362"/>
              <a:gd name="connsiteX5" fmla="*/ 0 w 9973295"/>
              <a:gd name="connsiteY5" fmla="*/ 0 h 4193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73295" h="4193362">
                <a:moveTo>
                  <a:pt x="0" y="0"/>
                </a:moveTo>
                <a:lnTo>
                  <a:pt x="9912010" y="0"/>
                </a:lnTo>
                <a:lnTo>
                  <a:pt x="9927053" y="149768"/>
                </a:lnTo>
                <a:cubicBezTo>
                  <a:pt x="10097391" y="2056447"/>
                  <a:pt x="9870584" y="4193362"/>
                  <a:pt x="7984937" y="4193362"/>
                </a:cubicBezTo>
                <a:cubicBezTo>
                  <a:pt x="0" y="4193362"/>
                  <a:pt x="0" y="4193362"/>
                  <a:pt x="0" y="419336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1683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23123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-720915"/>
            <a:ext cx="4707110" cy="72768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4372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11861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466075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533400"/>
            <a:ext cx="8534400" cy="6324600"/>
          </a:xfrm>
          <a:custGeom>
            <a:avLst/>
            <a:gdLst>
              <a:gd name="connsiteX0" fmla="*/ 0 w 8534400"/>
              <a:gd name="connsiteY0" fmla="*/ 0 h 6324600"/>
              <a:gd name="connsiteX1" fmla="*/ 348343 w 8534400"/>
              <a:gd name="connsiteY1" fmla="*/ 58194 h 6324600"/>
              <a:gd name="connsiteX2" fmla="*/ 8534400 w 8534400"/>
              <a:gd name="connsiteY2" fmla="*/ 1818574 h 6324600"/>
              <a:gd name="connsiteX3" fmla="*/ 8534400 w 8534400"/>
              <a:gd name="connsiteY3" fmla="*/ 6186046 h 6324600"/>
              <a:gd name="connsiteX4" fmla="*/ 8534400 w 8534400"/>
              <a:gd name="connsiteY4" fmla="*/ 6324600 h 6324600"/>
              <a:gd name="connsiteX5" fmla="*/ 0 w 8534400"/>
              <a:gd name="connsiteY5" fmla="*/ 6324600 h 6324600"/>
              <a:gd name="connsiteX6" fmla="*/ 0 w 8534400"/>
              <a:gd name="connsiteY6" fmla="*/ 6241218 h 6324600"/>
              <a:gd name="connsiteX7" fmla="*/ 0 w 8534400"/>
              <a:gd name="connsiteY7" fmla="*/ 0 h 632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324600">
                <a:moveTo>
                  <a:pt x="0" y="0"/>
                </a:moveTo>
                <a:cubicBezTo>
                  <a:pt x="116114" y="14549"/>
                  <a:pt x="232229" y="29097"/>
                  <a:pt x="348343" y="58194"/>
                </a:cubicBezTo>
                <a:cubicBezTo>
                  <a:pt x="3556000" y="611041"/>
                  <a:pt x="6284686" y="1207533"/>
                  <a:pt x="8534400" y="1818574"/>
                </a:cubicBezTo>
                <a:cubicBezTo>
                  <a:pt x="8534400" y="1818574"/>
                  <a:pt x="8534400" y="1818574"/>
                  <a:pt x="8534400" y="6186046"/>
                </a:cubicBezTo>
                <a:lnTo>
                  <a:pt x="8534400" y="6324600"/>
                </a:lnTo>
                <a:lnTo>
                  <a:pt x="0" y="6324600"/>
                </a:lnTo>
                <a:lnTo>
                  <a:pt x="0" y="6241218"/>
                </a:lnTo>
                <a:cubicBezTo>
                  <a:pt x="0" y="4953254"/>
                  <a:pt x="0" y="2990644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81940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73379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538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831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2"/>
            <a:ext cx="8664800" cy="5891173"/>
          </a:xfrm>
          <a:custGeom>
            <a:avLst/>
            <a:gdLst>
              <a:gd name="connsiteX0" fmla="*/ 0 w 8664800"/>
              <a:gd name="connsiteY0" fmla="*/ 0 h 5891173"/>
              <a:gd name="connsiteX1" fmla="*/ 8664800 w 8664800"/>
              <a:gd name="connsiteY1" fmla="*/ 0 h 5891173"/>
              <a:gd name="connsiteX2" fmla="*/ 8664384 w 8664800"/>
              <a:gd name="connsiteY2" fmla="*/ 3446 h 5891173"/>
              <a:gd name="connsiteX3" fmla="*/ 4910849 w 8664800"/>
              <a:gd name="connsiteY3" fmla="*/ 5752723 h 5891173"/>
              <a:gd name="connsiteX4" fmla="*/ 136189 w 8664800"/>
              <a:gd name="connsiteY4" fmla="*/ 3904223 h 5891173"/>
              <a:gd name="connsiteX5" fmla="*/ 0 w 8664800"/>
              <a:gd name="connsiteY5" fmla="*/ 3851498 h 5891173"/>
              <a:gd name="connsiteX6" fmla="*/ 0 w 8664800"/>
              <a:gd name="connsiteY6" fmla="*/ 0 h 5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64800" h="5891173">
                <a:moveTo>
                  <a:pt x="0" y="0"/>
                </a:moveTo>
                <a:lnTo>
                  <a:pt x="8664800" y="0"/>
                </a:lnTo>
                <a:lnTo>
                  <a:pt x="8664384" y="3446"/>
                </a:lnTo>
                <a:cubicBezTo>
                  <a:pt x="8546736" y="969909"/>
                  <a:pt x="7776240" y="6862054"/>
                  <a:pt x="4910849" y="5752723"/>
                </a:cubicBezTo>
                <a:cubicBezTo>
                  <a:pt x="2738090" y="4911543"/>
                  <a:pt x="1210368" y="4320089"/>
                  <a:pt x="136189" y="3904223"/>
                </a:cubicBezTo>
                <a:lnTo>
                  <a:pt x="0" y="385149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48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2703358" y="1531422"/>
            <a:ext cx="9488642" cy="5326579"/>
          </a:xfrm>
          <a:custGeom>
            <a:avLst/>
            <a:gdLst>
              <a:gd name="connsiteX0" fmla="*/ 8600219 w 9488642"/>
              <a:gd name="connsiteY0" fmla="*/ 517 h 5326579"/>
              <a:gd name="connsiteX1" fmla="*/ 9337654 w 9488642"/>
              <a:gd name="connsiteY1" fmla="*/ 75918 h 5326579"/>
              <a:gd name="connsiteX2" fmla="*/ 9488642 w 9488642"/>
              <a:gd name="connsiteY2" fmla="*/ 108110 h 5326579"/>
              <a:gd name="connsiteX3" fmla="*/ 9488642 w 9488642"/>
              <a:gd name="connsiteY3" fmla="*/ 5326579 h 5326579"/>
              <a:gd name="connsiteX4" fmla="*/ 0 w 9488642"/>
              <a:gd name="connsiteY4" fmla="*/ 5326579 h 5326579"/>
              <a:gd name="connsiteX5" fmla="*/ 239796 w 9488642"/>
              <a:gd name="connsiteY5" fmla="*/ 5146683 h 5326579"/>
              <a:gd name="connsiteX6" fmla="*/ 5947966 w 9488642"/>
              <a:gd name="connsiteY6" fmla="*/ 864382 h 5326579"/>
              <a:gd name="connsiteX7" fmla="*/ 8600219 w 9488642"/>
              <a:gd name="connsiteY7" fmla="*/ 517 h 5326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8642" h="5326579">
                <a:moveTo>
                  <a:pt x="8600219" y="517"/>
                </a:moveTo>
                <a:cubicBezTo>
                  <a:pt x="8847532" y="4354"/>
                  <a:pt x="9094309" y="29531"/>
                  <a:pt x="9337654" y="75918"/>
                </a:cubicBezTo>
                <a:lnTo>
                  <a:pt x="9488642" y="108110"/>
                </a:lnTo>
                <a:lnTo>
                  <a:pt x="9488642" y="5326579"/>
                </a:lnTo>
                <a:lnTo>
                  <a:pt x="0" y="5326579"/>
                </a:lnTo>
                <a:lnTo>
                  <a:pt x="239796" y="5146683"/>
                </a:lnTo>
                <a:cubicBezTo>
                  <a:pt x="5947966" y="864382"/>
                  <a:pt x="5947966" y="864382"/>
                  <a:pt x="5947966" y="864382"/>
                </a:cubicBezTo>
                <a:cubicBezTo>
                  <a:pt x="6737823" y="271827"/>
                  <a:pt x="7672794" y="-13871"/>
                  <a:pt x="8600219" y="5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89560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80999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725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73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1295400"/>
            <a:ext cx="1577986" cy="144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3" cy="4126254"/>
          </a:xfrm>
          <a:custGeom>
            <a:avLst/>
            <a:gdLst>
              <a:gd name="connsiteX0" fmla="*/ 3218906 w 6354233"/>
              <a:gd name="connsiteY0" fmla="*/ 0 h 4126254"/>
              <a:gd name="connsiteX1" fmla="*/ 6338061 w 6354233"/>
              <a:gd name="connsiteY1" fmla="*/ 0 h 4126254"/>
              <a:gd name="connsiteX2" fmla="*/ 6354233 w 6354233"/>
              <a:gd name="connsiteY2" fmla="*/ 0 h 4126254"/>
              <a:gd name="connsiteX3" fmla="*/ 6354233 w 6354233"/>
              <a:gd name="connsiteY3" fmla="*/ 4126254 h 4126254"/>
              <a:gd name="connsiteX4" fmla="*/ 0 w 6354233"/>
              <a:gd name="connsiteY4" fmla="*/ 4126254 h 4126254"/>
              <a:gd name="connsiteX5" fmla="*/ 18929 w 6354233"/>
              <a:gd name="connsiteY5" fmla="*/ 4013385 h 4126254"/>
              <a:gd name="connsiteX6" fmla="*/ 273134 w 6354233"/>
              <a:gd name="connsiteY6" fmla="*/ 2497612 h 4126254"/>
              <a:gd name="connsiteX7" fmla="*/ 3218906 w 6354233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3" h="4126254">
                <a:moveTo>
                  <a:pt x="3218906" y="0"/>
                </a:moveTo>
                <a:cubicBezTo>
                  <a:pt x="3218906" y="0"/>
                  <a:pt x="3218906" y="0"/>
                  <a:pt x="6338061" y="0"/>
                </a:cubicBezTo>
                <a:lnTo>
                  <a:pt x="6354233" y="0"/>
                </a:lnTo>
                <a:lnTo>
                  <a:pt x="6354233" y="4126254"/>
                </a:lnTo>
                <a:lnTo>
                  <a:pt x="0" y="4126254"/>
                </a:lnTo>
                <a:lnTo>
                  <a:pt x="18929" y="4013385"/>
                </a:lnTo>
                <a:cubicBezTo>
                  <a:pt x="86798" y="3608700"/>
                  <a:pt x="170328" y="3110626"/>
                  <a:pt x="273134" y="2497612"/>
                </a:cubicBezTo>
                <a:cubicBezTo>
                  <a:pt x="509656" y="1050498"/>
                  <a:pt x="1756771" y="0"/>
                  <a:pt x="321890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631598" y="0"/>
            <a:ext cx="4560403" cy="6858001"/>
          </a:xfrm>
          <a:custGeom>
            <a:avLst/>
            <a:gdLst>
              <a:gd name="connsiteX0" fmla="*/ 3889339 w 4560403"/>
              <a:gd name="connsiteY0" fmla="*/ 0 h 6858001"/>
              <a:gd name="connsiteX1" fmla="*/ 4560403 w 4560403"/>
              <a:gd name="connsiteY1" fmla="*/ 0 h 6858001"/>
              <a:gd name="connsiteX2" fmla="*/ 4560403 w 4560403"/>
              <a:gd name="connsiteY2" fmla="*/ 6858001 h 6858001"/>
              <a:gd name="connsiteX3" fmla="*/ 797256 w 4560403"/>
              <a:gd name="connsiteY3" fmla="*/ 6858001 h 6858001"/>
              <a:gd name="connsiteX4" fmla="*/ 788343 w 4560403"/>
              <a:gd name="connsiteY4" fmla="*/ 6827268 h 6858001"/>
              <a:gd name="connsiteX5" fmla="*/ 116308 w 4560403"/>
              <a:gd name="connsiteY5" fmla="*/ 4510048 h 6858001"/>
              <a:gd name="connsiteX6" fmla="*/ 1654161 w 4560403"/>
              <a:gd name="connsiteY6" fmla="*/ 1075400 h 6858001"/>
              <a:gd name="connsiteX7" fmla="*/ 3880655 w 4560403"/>
              <a:gd name="connsiteY7" fmla="*/ 4178 h 6858001"/>
              <a:gd name="connsiteX8" fmla="*/ 3889339 w 4560403"/>
              <a:gd name="connsiteY8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60403" h="6858001">
                <a:moveTo>
                  <a:pt x="3889339" y="0"/>
                </a:moveTo>
                <a:lnTo>
                  <a:pt x="4560403" y="0"/>
                </a:lnTo>
                <a:lnTo>
                  <a:pt x="4560403" y="6858001"/>
                </a:lnTo>
                <a:lnTo>
                  <a:pt x="797256" y="6858001"/>
                </a:lnTo>
                <a:lnTo>
                  <a:pt x="788343" y="6827268"/>
                </a:lnTo>
                <a:cubicBezTo>
                  <a:pt x="116308" y="4510048"/>
                  <a:pt x="116308" y="4510048"/>
                  <a:pt x="116308" y="4510048"/>
                </a:cubicBezTo>
                <a:cubicBezTo>
                  <a:pt x="-280530" y="3141724"/>
                  <a:pt x="364088" y="1689508"/>
                  <a:pt x="1654161" y="1075400"/>
                </a:cubicBezTo>
                <a:cubicBezTo>
                  <a:pt x="2768462" y="539282"/>
                  <a:pt x="3456195" y="208397"/>
                  <a:pt x="3880655" y="4178"/>
                </a:cubicBezTo>
                <a:lnTo>
                  <a:pt x="388933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798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798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5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Sogeti. All rights reserved.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9520" y="1654230"/>
            <a:ext cx="7363358" cy="478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2" y="1924738"/>
            <a:ext cx="7237505" cy="4933262"/>
          </a:xfrm>
          <a:custGeom>
            <a:avLst/>
            <a:gdLst>
              <a:gd name="connsiteX0" fmla="*/ 4395998 w 7237505"/>
              <a:gd name="connsiteY0" fmla="*/ 58 h 4933262"/>
              <a:gd name="connsiteX1" fmla="*/ 7233138 w 7237505"/>
              <a:gd name="connsiteY1" fmla="*/ 4903565 h 4933262"/>
              <a:gd name="connsiteX2" fmla="*/ 7237505 w 7237505"/>
              <a:gd name="connsiteY2" fmla="*/ 4933262 h 4933262"/>
              <a:gd name="connsiteX3" fmla="*/ 0 w 7237505"/>
              <a:gd name="connsiteY3" fmla="*/ 4933262 h 4933262"/>
              <a:gd name="connsiteX4" fmla="*/ 0 w 7237505"/>
              <a:gd name="connsiteY4" fmla="*/ 1491292 h 4933262"/>
              <a:gd name="connsiteX5" fmla="*/ 148016 w 7237505"/>
              <a:gd name="connsiteY5" fmla="*/ 1437398 h 4933262"/>
              <a:gd name="connsiteX6" fmla="*/ 3756131 w 7237505"/>
              <a:gd name="connsiteY6" fmla="*/ 123640 h 4933262"/>
              <a:gd name="connsiteX7" fmla="*/ 4395998 w 7237505"/>
              <a:gd name="connsiteY7" fmla="*/ 58 h 493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505" h="4933262">
                <a:moveTo>
                  <a:pt x="4395998" y="58"/>
                </a:moveTo>
                <a:cubicBezTo>
                  <a:pt x="6238787" y="-15730"/>
                  <a:pt x="6966936" y="3156975"/>
                  <a:pt x="7233138" y="4903565"/>
                </a:cubicBezTo>
                <a:lnTo>
                  <a:pt x="7237505" y="4933262"/>
                </a:lnTo>
                <a:lnTo>
                  <a:pt x="0" y="4933262"/>
                </a:lnTo>
                <a:lnTo>
                  <a:pt x="0" y="1491292"/>
                </a:lnTo>
                <a:lnTo>
                  <a:pt x="148016" y="1437398"/>
                </a:lnTo>
                <a:cubicBezTo>
                  <a:pt x="1090161" y="1094352"/>
                  <a:pt x="2272461" y="663862"/>
                  <a:pt x="3756131" y="123640"/>
                </a:cubicBezTo>
                <a:cubicBezTo>
                  <a:pt x="3983091" y="41001"/>
                  <a:pt x="4196102" y="1771"/>
                  <a:pt x="4395998" y="5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38784" y="1696711"/>
            <a:ext cx="464522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84457" y="609600"/>
            <a:ext cx="4905075" cy="559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1083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12193224" cy="3895500"/>
          </a:xfrm>
          <a:custGeom>
            <a:avLst/>
            <a:gdLst>
              <a:gd name="connsiteX0" fmla="*/ 0 w 12193224"/>
              <a:gd name="connsiteY0" fmla="*/ 0 h 3895500"/>
              <a:gd name="connsiteX1" fmla="*/ 12193224 w 12193224"/>
              <a:gd name="connsiteY1" fmla="*/ 0 h 3895500"/>
              <a:gd name="connsiteX2" fmla="*/ 12193224 w 12193224"/>
              <a:gd name="connsiteY2" fmla="*/ 246767 h 3895500"/>
              <a:gd name="connsiteX3" fmla="*/ 12193224 w 12193224"/>
              <a:gd name="connsiteY3" fmla="*/ 3895500 h 3895500"/>
              <a:gd name="connsiteX4" fmla="*/ 11695542 w 12193224"/>
              <a:gd name="connsiteY4" fmla="*/ 3812356 h 3895500"/>
              <a:gd name="connsiteX5" fmla="*/ 0 w 12193224"/>
              <a:gd name="connsiteY5" fmla="*/ 1297276 h 3895500"/>
              <a:gd name="connsiteX6" fmla="*/ 0 w 12193224"/>
              <a:gd name="connsiteY6" fmla="*/ 68316 h 3895500"/>
              <a:gd name="connsiteX7" fmla="*/ 0 w 12193224"/>
              <a:gd name="connsiteY7" fmla="*/ 0 h 38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24" h="3895500">
                <a:moveTo>
                  <a:pt x="0" y="0"/>
                </a:moveTo>
                <a:lnTo>
                  <a:pt x="12193224" y="0"/>
                </a:lnTo>
                <a:lnTo>
                  <a:pt x="12193224" y="246767"/>
                </a:lnTo>
                <a:cubicBezTo>
                  <a:pt x="12193224" y="1325156"/>
                  <a:pt x="12193224" y="2535979"/>
                  <a:pt x="12193224" y="3895500"/>
                </a:cubicBezTo>
                <a:cubicBezTo>
                  <a:pt x="12027332" y="3874712"/>
                  <a:pt x="11861436" y="3853928"/>
                  <a:pt x="11695542" y="3812356"/>
                </a:cubicBezTo>
                <a:cubicBezTo>
                  <a:pt x="7112716" y="3022496"/>
                  <a:pt x="3214200" y="2170279"/>
                  <a:pt x="0" y="1297276"/>
                </a:cubicBezTo>
                <a:cubicBezTo>
                  <a:pt x="0" y="1297276"/>
                  <a:pt x="0" y="1297276"/>
                  <a:pt x="0" y="6831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1360" y="1559681"/>
            <a:ext cx="4343400" cy="4920475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579828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Open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" y="1773244"/>
            <a:ext cx="12682081" cy="5084756"/>
          </a:xfrm>
          <a:custGeom>
            <a:avLst/>
            <a:gdLst>
              <a:gd name="connsiteX0" fmla="*/ 9471990 w 12682081"/>
              <a:gd name="connsiteY0" fmla="*/ 542 h 5084756"/>
              <a:gd name="connsiteX1" fmla="*/ 12634063 w 12682081"/>
              <a:gd name="connsiteY1" fmla="*/ 4816991 h 5084756"/>
              <a:gd name="connsiteX2" fmla="*/ 12682081 w 12682081"/>
              <a:gd name="connsiteY2" fmla="*/ 5084756 h 5084756"/>
              <a:gd name="connsiteX3" fmla="*/ 0 w 12682081"/>
              <a:gd name="connsiteY3" fmla="*/ 5084756 h 5084756"/>
              <a:gd name="connsiteX4" fmla="*/ 0 w 12682081"/>
              <a:gd name="connsiteY4" fmla="*/ 2957111 h 5084756"/>
              <a:gd name="connsiteX5" fmla="*/ 26348 w 12682081"/>
              <a:gd name="connsiteY5" fmla="*/ 2948506 h 5084756"/>
              <a:gd name="connsiteX6" fmla="*/ 8652212 w 12682081"/>
              <a:gd name="connsiteY6" fmla="*/ 131371 h 5084756"/>
              <a:gd name="connsiteX7" fmla="*/ 9471990 w 12682081"/>
              <a:gd name="connsiteY7" fmla="*/ 542 h 508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82081" h="5084756">
                <a:moveTo>
                  <a:pt x="9471990" y="542"/>
                </a:moveTo>
                <a:cubicBezTo>
                  <a:pt x="11348469" y="43621"/>
                  <a:pt x="12225265" y="2641773"/>
                  <a:pt x="12634063" y="4816991"/>
                </a:cubicBezTo>
                <a:lnTo>
                  <a:pt x="12682081" y="5084756"/>
                </a:lnTo>
                <a:lnTo>
                  <a:pt x="0" y="5084756"/>
                </a:lnTo>
                <a:lnTo>
                  <a:pt x="0" y="2957111"/>
                </a:lnTo>
                <a:lnTo>
                  <a:pt x="26348" y="2948506"/>
                </a:lnTo>
                <a:cubicBezTo>
                  <a:pt x="1039939" y="2617476"/>
                  <a:pt x="3356718" y="1860835"/>
                  <a:pt x="8652212" y="131371"/>
                </a:cubicBezTo>
                <a:cubicBezTo>
                  <a:pt x="8944735" y="35836"/>
                  <a:pt x="9217552" y="-5299"/>
                  <a:pt x="9471990" y="5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22635" y="3810000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15755" y="751840"/>
            <a:ext cx="5810544" cy="53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0662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5046" y="765025"/>
            <a:ext cx="8880805" cy="36933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1631" y="1535430"/>
            <a:ext cx="11545936" cy="48920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03951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51619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bg1"/>
                </a:solidFill>
              </a:rPr>
              <a:t>About </a:t>
            </a:r>
            <a:r>
              <a:rPr lang="en-US" sz="1600" err="1">
                <a:solidFill>
                  <a:schemeClr val="bg1"/>
                </a:solidFill>
              </a:rPr>
              <a:t>Sogeti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5493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5"/>
                </a:solidFill>
              </a:rPr>
              <a:t>About </a:t>
            </a:r>
            <a:r>
              <a:rPr lang="en-US" sz="1600" err="1">
                <a:solidFill>
                  <a:schemeClr val="accent5"/>
                </a:solidFill>
              </a:rPr>
              <a:t>Sogeti</a:t>
            </a:r>
            <a:endParaRPr lang="en-US" sz="160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770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3"/>
                </a:solidFill>
              </a:rPr>
              <a:t>About </a:t>
            </a:r>
            <a:r>
              <a:rPr lang="en-US" sz="1600" err="1">
                <a:solidFill>
                  <a:schemeClr val="accent3"/>
                </a:solidFill>
              </a:rPr>
              <a:t>Sogeti</a:t>
            </a:r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574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407988" y="2118167"/>
            <a:ext cx="11376025" cy="2683397"/>
            <a:chOff x="407988" y="3962400"/>
            <a:chExt cx="11124255" cy="2286000"/>
          </a:xfrm>
          <a:solidFill>
            <a:schemeClr val="bg2"/>
          </a:solidFill>
        </p:grpSpPr>
        <p:sp>
          <p:nvSpPr>
            <p:cNvPr id="32" name="Rectangle 31"/>
            <p:cNvSpPr/>
            <p:nvPr userDrawn="1"/>
          </p:nvSpPr>
          <p:spPr>
            <a:xfrm>
              <a:off x="407988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4192909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7977831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407988" y="4379090"/>
            <a:ext cx="11376025" cy="1963838"/>
            <a:chOff x="407988" y="3962400"/>
            <a:chExt cx="11124255" cy="2286000"/>
          </a:xfrm>
        </p:grpSpPr>
        <p:sp>
          <p:nvSpPr>
            <p:cNvPr id="41" name="Rectangle 40"/>
            <p:cNvSpPr/>
            <p:nvPr userDrawn="1"/>
          </p:nvSpPr>
          <p:spPr>
            <a:xfrm>
              <a:off x="407988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4192909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7977831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8373319" y="3927105"/>
            <a:ext cx="1060048" cy="656220"/>
            <a:chOff x="402908" y="4604216"/>
            <a:chExt cx="920734" cy="569978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46" name="TextBox 45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3</a:t>
              </a:r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4391628" y="3927105"/>
            <a:ext cx="1060048" cy="656220"/>
            <a:chOff x="402908" y="4604216"/>
            <a:chExt cx="920734" cy="569978"/>
          </a:xfrm>
        </p:grpSpPr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2</a:t>
              </a:r>
            </a:p>
          </p:txBody>
        </p:sp>
      </p:grpSp>
      <p:grpSp>
        <p:nvGrpSpPr>
          <p:cNvPr id="54" name="Group 53"/>
          <p:cNvGrpSpPr/>
          <p:nvPr userDrawn="1"/>
        </p:nvGrpSpPr>
        <p:grpSpPr>
          <a:xfrm>
            <a:off x="617317" y="3927105"/>
            <a:ext cx="1060048" cy="656220"/>
            <a:chOff x="402908" y="4604216"/>
            <a:chExt cx="920734" cy="569978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1</a:t>
              </a:r>
            </a:p>
          </p:txBody>
        </p:sp>
      </p:grpSp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741" y="1862571"/>
            <a:ext cx="3193059" cy="197870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384726" y="1360456"/>
            <a:ext cx="1694139" cy="1933432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541" y="1862571"/>
            <a:ext cx="3193059" cy="1978701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701" y="1395468"/>
            <a:ext cx="2168659" cy="2008131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8381" y="1862571"/>
            <a:ext cx="3193059" cy="1978701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360" y="1578863"/>
            <a:ext cx="1996972" cy="1727697"/>
          </a:xfrm>
          <a:prstGeom prst="rect">
            <a:avLst/>
          </a:prstGeom>
        </p:spPr>
      </p:pic>
      <p:sp>
        <p:nvSpPr>
          <p:cNvPr id="35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843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907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5987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574772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10"/>
          <p:cNvSpPr>
            <a:spLocks/>
          </p:cNvSpPr>
          <p:nvPr userDrawn="1"/>
        </p:nvSpPr>
        <p:spPr bwMode="auto">
          <a:xfrm>
            <a:off x="0" y="0"/>
            <a:ext cx="4191000" cy="6799548"/>
          </a:xfrm>
          <a:custGeom>
            <a:avLst/>
            <a:gdLst>
              <a:gd name="T0" fmla="*/ 0 w 532"/>
              <a:gd name="T1" fmla="*/ 0 h 861"/>
              <a:gd name="T2" fmla="*/ 0 w 532"/>
              <a:gd name="T3" fmla="*/ 727 h 861"/>
              <a:gd name="T4" fmla="*/ 532 w 532"/>
              <a:gd name="T5" fmla="*/ 616 h 861"/>
              <a:gd name="T6" fmla="*/ 532 w 532"/>
              <a:gd name="T7" fmla="*/ 0 h 861"/>
              <a:gd name="T8" fmla="*/ 0 w 532"/>
              <a:gd name="T9" fmla="*/ 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2" h="861">
                <a:moveTo>
                  <a:pt x="0" y="0"/>
                </a:moveTo>
                <a:cubicBezTo>
                  <a:pt x="0" y="727"/>
                  <a:pt x="0" y="727"/>
                  <a:pt x="0" y="727"/>
                </a:cubicBezTo>
                <a:cubicBezTo>
                  <a:pt x="63" y="743"/>
                  <a:pt x="532" y="861"/>
                  <a:pt x="532" y="616"/>
                </a:cubicBezTo>
                <a:cubicBezTo>
                  <a:pt x="532" y="0"/>
                  <a:pt x="532" y="0"/>
                  <a:pt x="53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734797" y="1447800"/>
            <a:ext cx="4516868" cy="4506202"/>
            <a:chOff x="3828577" y="1877864"/>
            <a:chExt cx="4664104" cy="4653095"/>
          </a:xfrm>
        </p:grpSpPr>
        <p:sp>
          <p:nvSpPr>
            <p:cNvPr id="18" name="object 7"/>
            <p:cNvSpPr/>
            <p:nvPr/>
          </p:nvSpPr>
          <p:spPr>
            <a:xfrm>
              <a:off x="7000927" y="2977130"/>
              <a:ext cx="198755" cy="490854"/>
            </a:xfrm>
            <a:custGeom>
              <a:avLst/>
              <a:gdLst/>
              <a:ahLst/>
              <a:cxnLst/>
              <a:rect l="l" t="t" r="r" b="b"/>
              <a:pathLst>
                <a:path w="198754" h="490854">
                  <a:moveTo>
                    <a:pt x="0" y="490423"/>
                  </a:moveTo>
                  <a:lnTo>
                    <a:pt x="198141" y="490423"/>
                  </a:lnTo>
                  <a:lnTo>
                    <a:pt x="198141" y="0"/>
                  </a:lnTo>
                  <a:lnTo>
                    <a:pt x="0" y="0"/>
                  </a:lnTo>
                  <a:lnTo>
                    <a:pt x="0" y="490423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19" name="object 8"/>
            <p:cNvSpPr/>
            <p:nvPr/>
          </p:nvSpPr>
          <p:spPr>
            <a:xfrm>
              <a:off x="6937693" y="4292667"/>
              <a:ext cx="376554" cy="306071"/>
            </a:xfrm>
            <a:custGeom>
              <a:avLst/>
              <a:gdLst/>
              <a:ahLst/>
              <a:cxnLst/>
              <a:rect l="l" t="t" r="r" b="b"/>
              <a:pathLst>
                <a:path w="376554" h="306070">
                  <a:moveTo>
                    <a:pt x="296964" y="0"/>
                  </a:moveTo>
                  <a:lnTo>
                    <a:pt x="1409" y="170129"/>
                  </a:lnTo>
                  <a:lnTo>
                    <a:pt x="0" y="175399"/>
                  </a:lnTo>
                  <a:lnTo>
                    <a:pt x="74091" y="304126"/>
                  </a:lnTo>
                  <a:lnTo>
                    <a:pt x="79362" y="305536"/>
                  </a:lnTo>
                  <a:lnTo>
                    <a:pt x="374916" y="135420"/>
                  </a:lnTo>
                  <a:lnTo>
                    <a:pt x="376326" y="130124"/>
                  </a:lnTo>
                  <a:lnTo>
                    <a:pt x="304596" y="5524"/>
                  </a:lnTo>
                  <a:lnTo>
                    <a:pt x="302234" y="1447"/>
                  </a:lnTo>
                  <a:lnTo>
                    <a:pt x="296964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0" name="object 9"/>
            <p:cNvSpPr/>
            <p:nvPr/>
          </p:nvSpPr>
          <p:spPr>
            <a:xfrm>
              <a:off x="7077799" y="3037073"/>
              <a:ext cx="241934" cy="650874"/>
            </a:xfrm>
            <a:custGeom>
              <a:avLst/>
              <a:gdLst/>
              <a:ahLst/>
              <a:cxnLst/>
              <a:rect l="l" t="t" r="r" b="b"/>
              <a:pathLst>
                <a:path w="241934" h="650875">
                  <a:moveTo>
                    <a:pt x="838" y="0"/>
                  </a:moveTo>
                  <a:lnTo>
                    <a:pt x="0" y="650316"/>
                  </a:lnTo>
                  <a:lnTo>
                    <a:pt x="240690" y="650621"/>
                  </a:lnTo>
                  <a:lnTo>
                    <a:pt x="241401" y="114998"/>
                  </a:lnTo>
                  <a:lnTo>
                    <a:pt x="83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1" name="object 10"/>
            <p:cNvSpPr/>
            <p:nvPr/>
          </p:nvSpPr>
          <p:spPr>
            <a:xfrm>
              <a:off x="7077799" y="3567209"/>
              <a:ext cx="240689" cy="24068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7" name="object 11"/>
            <p:cNvSpPr/>
            <p:nvPr/>
          </p:nvSpPr>
          <p:spPr>
            <a:xfrm>
              <a:off x="7078354" y="3699102"/>
              <a:ext cx="240029" cy="746760"/>
            </a:xfrm>
            <a:custGeom>
              <a:avLst/>
              <a:gdLst/>
              <a:ahLst/>
              <a:cxnLst/>
              <a:rect l="l" t="t" r="r" b="b"/>
              <a:pathLst>
                <a:path w="240029" h="746760">
                  <a:moveTo>
                    <a:pt x="0" y="0"/>
                  </a:moveTo>
                  <a:lnTo>
                    <a:pt x="73837" y="700328"/>
                  </a:lnTo>
                  <a:lnTo>
                    <a:pt x="106270" y="742907"/>
                  </a:lnTo>
                  <a:lnTo>
                    <a:pt x="124980" y="746442"/>
                  </a:lnTo>
                  <a:lnTo>
                    <a:pt x="143932" y="742861"/>
                  </a:lnTo>
                  <a:lnTo>
                    <a:pt x="159778" y="732975"/>
                  </a:lnTo>
                  <a:lnTo>
                    <a:pt x="171072" y="718101"/>
                  </a:lnTo>
                  <a:lnTo>
                    <a:pt x="176364" y="699554"/>
                  </a:lnTo>
                  <a:lnTo>
                    <a:pt x="239547" y="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8" name="object 12"/>
            <p:cNvSpPr/>
            <p:nvPr/>
          </p:nvSpPr>
          <p:spPr>
            <a:xfrm>
              <a:off x="7077790" y="3567200"/>
              <a:ext cx="240689" cy="2406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29" name="object 13"/>
            <p:cNvSpPr/>
            <p:nvPr/>
          </p:nvSpPr>
          <p:spPr>
            <a:xfrm>
              <a:off x="6753293" y="4168686"/>
              <a:ext cx="376554" cy="306071"/>
            </a:xfrm>
            <a:custGeom>
              <a:avLst/>
              <a:gdLst/>
              <a:ahLst/>
              <a:cxnLst/>
              <a:rect l="l" t="t" r="r" b="b"/>
              <a:pathLst>
                <a:path w="376554" h="306070">
                  <a:moveTo>
                    <a:pt x="296989" y="0"/>
                  </a:moveTo>
                  <a:lnTo>
                    <a:pt x="1435" y="170091"/>
                  </a:lnTo>
                  <a:lnTo>
                    <a:pt x="0" y="175386"/>
                  </a:lnTo>
                  <a:lnTo>
                    <a:pt x="2374" y="179476"/>
                  </a:lnTo>
                  <a:lnTo>
                    <a:pt x="74091" y="304088"/>
                  </a:lnTo>
                  <a:lnTo>
                    <a:pt x="79387" y="305523"/>
                  </a:lnTo>
                  <a:lnTo>
                    <a:pt x="374916" y="135381"/>
                  </a:lnTo>
                  <a:lnTo>
                    <a:pt x="376351" y="130111"/>
                  </a:lnTo>
                  <a:lnTo>
                    <a:pt x="304609" y="5511"/>
                  </a:lnTo>
                  <a:lnTo>
                    <a:pt x="302260" y="1384"/>
                  </a:lnTo>
                  <a:lnTo>
                    <a:pt x="296989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0" name="object 14"/>
            <p:cNvSpPr/>
            <p:nvPr/>
          </p:nvSpPr>
          <p:spPr>
            <a:xfrm>
              <a:off x="6759374" y="2926564"/>
              <a:ext cx="241934" cy="650874"/>
            </a:xfrm>
            <a:custGeom>
              <a:avLst/>
              <a:gdLst/>
              <a:ahLst/>
              <a:cxnLst/>
              <a:rect l="l" t="t" r="r" b="b"/>
              <a:pathLst>
                <a:path w="241934" h="650875">
                  <a:moveTo>
                    <a:pt x="838" y="0"/>
                  </a:moveTo>
                  <a:lnTo>
                    <a:pt x="0" y="650316"/>
                  </a:lnTo>
                  <a:lnTo>
                    <a:pt x="240715" y="650621"/>
                  </a:lnTo>
                  <a:lnTo>
                    <a:pt x="241553" y="317"/>
                  </a:lnTo>
                  <a:lnTo>
                    <a:pt x="83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1" name="object 15"/>
            <p:cNvSpPr/>
            <p:nvPr/>
          </p:nvSpPr>
          <p:spPr>
            <a:xfrm>
              <a:off x="6759374" y="3456678"/>
              <a:ext cx="240714" cy="24071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2" name="object 16"/>
            <p:cNvSpPr/>
            <p:nvPr/>
          </p:nvSpPr>
          <p:spPr>
            <a:xfrm>
              <a:off x="6764237" y="3566259"/>
              <a:ext cx="304799" cy="755015"/>
            </a:xfrm>
            <a:custGeom>
              <a:avLst/>
              <a:gdLst/>
              <a:ahLst/>
              <a:cxnLst/>
              <a:rect l="l" t="t" r="r" b="b"/>
              <a:pathLst>
                <a:path w="304800" h="755014">
                  <a:moveTo>
                    <a:pt x="235331" y="0"/>
                  </a:moveTo>
                  <a:lnTo>
                    <a:pt x="0" y="44576"/>
                  </a:lnTo>
                  <a:lnTo>
                    <a:pt x="203758" y="718642"/>
                  </a:lnTo>
                  <a:lnTo>
                    <a:pt x="212522" y="735552"/>
                  </a:lnTo>
                  <a:lnTo>
                    <a:pt x="226339" y="747796"/>
                  </a:lnTo>
                  <a:lnTo>
                    <a:pt x="243585" y="754394"/>
                  </a:lnTo>
                  <a:lnTo>
                    <a:pt x="262636" y="754367"/>
                  </a:lnTo>
                  <a:lnTo>
                    <a:pt x="280569" y="747307"/>
                  </a:lnTo>
                  <a:lnTo>
                    <a:pt x="294282" y="734625"/>
                  </a:lnTo>
                  <a:lnTo>
                    <a:pt x="302592" y="717894"/>
                  </a:lnTo>
                  <a:lnTo>
                    <a:pt x="304317" y="698690"/>
                  </a:lnTo>
                  <a:lnTo>
                    <a:pt x="235331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3" name="object 17"/>
            <p:cNvSpPr/>
            <p:nvPr/>
          </p:nvSpPr>
          <p:spPr>
            <a:xfrm>
              <a:off x="6761492" y="3458789"/>
              <a:ext cx="236486" cy="23648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4" name="object 18"/>
            <p:cNvSpPr/>
            <p:nvPr/>
          </p:nvSpPr>
          <p:spPr>
            <a:xfrm>
              <a:off x="3855367" y="3501346"/>
              <a:ext cx="4636132" cy="2719707"/>
            </a:xfrm>
            <a:custGeom>
              <a:avLst/>
              <a:gdLst/>
              <a:ahLst/>
              <a:cxnLst/>
              <a:rect l="l" t="t" r="r" b="b"/>
              <a:pathLst>
                <a:path w="4636134" h="2719704">
                  <a:moveTo>
                    <a:pt x="1693887" y="0"/>
                  </a:moveTo>
                  <a:lnTo>
                    <a:pt x="1648590" y="2874"/>
                  </a:lnTo>
                  <a:lnTo>
                    <a:pt x="1603874" y="11620"/>
                  </a:lnTo>
                  <a:lnTo>
                    <a:pt x="1560328" y="26237"/>
                  </a:lnTo>
                  <a:lnTo>
                    <a:pt x="1518542" y="46728"/>
                  </a:lnTo>
                  <a:lnTo>
                    <a:pt x="64887" y="883505"/>
                  </a:lnTo>
                  <a:lnTo>
                    <a:pt x="28880" y="913907"/>
                  </a:lnTo>
                  <a:lnTo>
                    <a:pt x="7249" y="952635"/>
                  </a:lnTo>
                  <a:lnTo>
                    <a:pt x="0" y="995538"/>
                  </a:lnTo>
                  <a:lnTo>
                    <a:pt x="7137" y="1038462"/>
                  </a:lnTo>
                  <a:lnTo>
                    <a:pt x="28667" y="1077254"/>
                  </a:lnTo>
                  <a:lnTo>
                    <a:pt x="64595" y="1107762"/>
                  </a:lnTo>
                  <a:lnTo>
                    <a:pt x="2766545" y="2672414"/>
                  </a:lnTo>
                  <a:lnTo>
                    <a:pt x="2808277" y="2693013"/>
                  </a:lnTo>
                  <a:lnTo>
                    <a:pt x="2851785" y="2707744"/>
                  </a:lnTo>
                  <a:lnTo>
                    <a:pt x="2896478" y="2716607"/>
                  </a:lnTo>
                  <a:lnTo>
                    <a:pt x="2941769" y="2719601"/>
                  </a:lnTo>
                  <a:lnTo>
                    <a:pt x="2987067" y="2716726"/>
                  </a:lnTo>
                  <a:lnTo>
                    <a:pt x="3031784" y="2707980"/>
                  </a:lnTo>
                  <a:lnTo>
                    <a:pt x="3075330" y="2693362"/>
                  </a:lnTo>
                  <a:lnTo>
                    <a:pt x="3117116" y="2672872"/>
                  </a:lnTo>
                  <a:lnTo>
                    <a:pt x="4570758" y="1836107"/>
                  </a:lnTo>
                  <a:lnTo>
                    <a:pt x="4606766" y="1805704"/>
                  </a:lnTo>
                  <a:lnTo>
                    <a:pt x="4628399" y="1766974"/>
                  </a:lnTo>
                  <a:lnTo>
                    <a:pt x="4635652" y="1724069"/>
                  </a:lnTo>
                  <a:lnTo>
                    <a:pt x="4628518" y="1681144"/>
                  </a:lnTo>
                  <a:lnTo>
                    <a:pt x="4606990" y="1642353"/>
                  </a:lnTo>
                  <a:lnTo>
                    <a:pt x="4571063" y="1611850"/>
                  </a:lnTo>
                  <a:lnTo>
                    <a:pt x="1869100" y="47197"/>
                  </a:lnTo>
                  <a:lnTo>
                    <a:pt x="1827372" y="26595"/>
                  </a:lnTo>
                  <a:lnTo>
                    <a:pt x="1783868" y="11861"/>
                  </a:lnTo>
                  <a:lnTo>
                    <a:pt x="1739176" y="2995"/>
                  </a:lnTo>
                  <a:lnTo>
                    <a:pt x="1693887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5" name="object 19"/>
            <p:cNvSpPr/>
            <p:nvPr/>
          </p:nvSpPr>
          <p:spPr>
            <a:xfrm>
              <a:off x="3856211" y="2828682"/>
              <a:ext cx="4636132" cy="2738756"/>
            </a:xfrm>
            <a:custGeom>
              <a:avLst/>
              <a:gdLst/>
              <a:ahLst/>
              <a:cxnLst/>
              <a:rect l="l" t="t" r="r" b="b"/>
              <a:pathLst>
                <a:path w="4636134" h="2738754">
                  <a:moveTo>
                    <a:pt x="1693900" y="0"/>
                  </a:moveTo>
                  <a:lnTo>
                    <a:pt x="1648601" y="2877"/>
                  </a:lnTo>
                  <a:lnTo>
                    <a:pt x="1603885" y="11625"/>
                  </a:lnTo>
                  <a:lnTo>
                    <a:pt x="1560343" y="26246"/>
                  </a:lnTo>
                  <a:lnTo>
                    <a:pt x="1518564" y="46740"/>
                  </a:lnTo>
                  <a:lnTo>
                    <a:pt x="285788" y="756353"/>
                  </a:lnTo>
                  <a:lnTo>
                    <a:pt x="329" y="756353"/>
                  </a:lnTo>
                  <a:lnTo>
                    <a:pt x="0" y="1014518"/>
                  </a:lnTo>
                  <a:lnTo>
                    <a:pt x="16109" y="1077629"/>
                  </a:lnTo>
                  <a:lnTo>
                    <a:pt x="64604" y="1126748"/>
                  </a:lnTo>
                  <a:lnTo>
                    <a:pt x="2766542" y="2691401"/>
                  </a:lnTo>
                  <a:lnTo>
                    <a:pt x="2808271" y="2712002"/>
                  </a:lnTo>
                  <a:lnTo>
                    <a:pt x="2851778" y="2726734"/>
                  </a:lnTo>
                  <a:lnTo>
                    <a:pt x="2896473" y="2735595"/>
                  </a:lnTo>
                  <a:lnTo>
                    <a:pt x="2941766" y="2738586"/>
                  </a:lnTo>
                  <a:lnTo>
                    <a:pt x="2987066" y="2735707"/>
                  </a:lnTo>
                  <a:lnTo>
                    <a:pt x="3031784" y="2726957"/>
                  </a:lnTo>
                  <a:lnTo>
                    <a:pt x="3075330" y="2712337"/>
                  </a:lnTo>
                  <a:lnTo>
                    <a:pt x="3117113" y="2691845"/>
                  </a:lnTo>
                  <a:lnTo>
                    <a:pt x="4570755" y="1855106"/>
                  </a:lnTo>
                  <a:lnTo>
                    <a:pt x="4620112" y="1804704"/>
                  </a:lnTo>
                  <a:lnTo>
                    <a:pt x="4635550" y="1739930"/>
                  </a:lnTo>
                  <a:lnTo>
                    <a:pt x="4635906" y="1481383"/>
                  </a:lnTo>
                  <a:lnTo>
                    <a:pt x="4345127" y="1480989"/>
                  </a:lnTo>
                  <a:lnTo>
                    <a:pt x="3093726" y="756353"/>
                  </a:lnTo>
                  <a:lnTo>
                    <a:pt x="285788" y="756353"/>
                  </a:lnTo>
                  <a:lnTo>
                    <a:pt x="3093090" y="755984"/>
                  </a:lnTo>
                  <a:lnTo>
                    <a:pt x="1869122" y="47185"/>
                  </a:lnTo>
                  <a:lnTo>
                    <a:pt x="1827393" y="26587"/>
                  </a:lnTo>
                  <a:lnTo>
                    <a:pt x="1783886" y="11856"/>
                  </a:lnTo>
                  <a:lnTo>
                    <a:pt x="1739192" y="2993"/>
                  </a:lnTo>
                  <a:lnTo>
                    <a:pt x="1693900" y="0"/>
                  </a:lnTo>
                  <a:close/>
                </a:path>
              </a:pathLst>
            </a:custGeom>
            <a:solidFill>
              <a:srgbClr val="098DB7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6" name="object 20"/>
            <p:cNvSpPr/>
            <p:nvPr/>
          </p:nvSpPr>
          <p:spPr>
            <a:xfrm>
              <a:off x="3856549" y="2589127"/>
              <a:ext cx="4636132" cy="2719707"/>
            </a:xfrm>
            <a:custGeom>
              <a:avLst/>
              <a:gdLst/>
              <a:ahLst/>
              <a:cxnLst/>
              <a:rect l="l" t="t" r="r" b="b"/>
              <a:pathLst>
                <a:path w="4636134" h="2719704">
                  <a:moveTo>
                    <a:pt x="1693876" y="0"/>
                  </a:moveTo>
                  <a:lnTo>
                    <a:pt x="1648576" y="2877"/>
                  </a:lnTo>
                  <a:lnTo>
                    <a:pt x="1603857" y="11627"/>
                  </a:lnTo>
                  <a:lnTo>
                    <a:pt x="1560308" y="26251"/>
                  </a:lnTo>
                  <a:lnTo>
                    <a:pt x="1518521" y="46750"/>
                  </a:lnTo>
                  <a:lnTo>
                    <a:pt x="64892" y="883502"/>
                  </a:lnTo>
                  <a:lnTo>
                    <a:pt x="28884" y="913914"/>
                  </a:lnTo>
                  <a:lnTo>
                    <a:pt x="7251" y="952649"/>
                  </a:lnTo>
                  <a:lnTo>
                    <a:pt x="0" y="995554"/>
                  </a:lnTo>
                  <a:lnTo>
                    <a:pt x="7136" y="1038476"/>
                  </a:lnTo>
                  <a:lnTo>
                    <a:pt x="28667" y="1077262"/>
                  </a:lnTo>
                  <a:lnTo>
                    <a:pt x="64600" y="1107759"/>
                  </a:lnTo>
                  <a:lnTo>
                    <a:pt x="2766550" y="2672411"/>
                  </a:lnTo>
                  <a:lnTo>
                    <a:pt x="2808275" y="2693010"/>
                  </a:lnTo>
                  <a:lnTo>
                    <a:pt x="2851778" y="2707741"/>
                  </a:lnTo>
                  <a:lnTo>
                    <a:pt x="2896471" y="2716604"/>
                  </a:lnTo>
                  <a:lnTo>
                    <a:pt x="2941761" y="2719598"/>
                  </a:lnTo>
                  <a:lnTo>
                    <a:pt x="2987059" y="2716723"/>
                  </a:lnTo>
                  <a:lnTo>
                    <a:pt x="3031774" y="2707976"/>
                  </a:lnTo>
                  <a:lnTo>
                    <a:pt x="3075317" y="2693359"/>
                  </a:lnTo>
                  <a:lnTo>
                    <a:pt x="3117095" y="2672868"/>
                  </a:lnTo>
                  <a:lnTo>
                    <a:pt x="4570763" y="1836129"/>
                  </a:lnTo>
                  <a:lnTo>
                    <a:pt x="4606769" y="1805716"/>
                  </a:lnTo>
                  <a:lnTo>
                    <a:pt x="4628397" y="1766978"/>
                  </a:lnTo>
                  <a:lnTo>
                    <a:pt x="4635644" y="1724071"/>
                  </a:lnTo>
                  <a:lnTo>
                    <a:pt x="4628504" y="1681146"/>
                  </a:lnTo>
                  <a:lnTo>
                    <a:pt x="4606971" y="1642358"/>
                  </a:lnTo>
                  <a:lnTo>
                    <a:pt x="4571042" y="1611860"/>
                  </a:lnTo>
                  <a:lnTo>
                    <a:pt x="1869079" y="47194"/>
                  </a:lnTo>
                  <a:lnTo>
                    <a:pt x="1827359" y="26592"/>
                  </a:lnTo>
                  <a:lnTo>
                    <a:pt x="1783858" y="11858"/>
                  </a:lnTo>
                  <a:lnTo>
                    <a:pt x="1739167" y="2993"/>
                  </a:lnTo>
                  <a:lnTo>
                    <a:pt x="1693876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7" name="object 21"/>
            <p:cNvSpPr/>
            <p:nvPr/>
          </p:nvSpPr>
          <p:spPr>
            <a:xfrm>
              <a:off x="4285458" y="2824851"/>
              <a:ext cx="3533218" cy="2082627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38" name="object 22"/>
            <p:cNvSpPr/>
            <p:nvPr userDrawn="1"/>
          </p:nvSpPr>
          <p:spPr>
            <a:xfrm>
              <a:off x="3828577" y="1877864"/>
              <a:ext cx="3793812" cy="348488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0" name="object 23"/>
            <p:cNvSpPr/>
            <p:nvPr/>
          </p:nvSpPr>
          <p:spPr>
            <a:xfrm>
              <a:off x="4921901" y="5664654"/>
              <a:ext cx="540385" cy="838201"/>
            </a:xfrm>
            <a:custGeom>
              <a:avLst/>
              <a:gdLst/>
              <a:ahLst/>
              <a:cxnLst/>
              <a:rect l="l" t="t" r="r" b="b"/>
              <a:pathLst>
                <a:path w="540385" h="838200">
                  <a:moveTo>
                    <a:pt x="81621" y="0"/>
                  </a:moveTo>
                  <a:lnTo>
                    <a:pt x="72147" y="1105"/>
                  </a:lnTo>
                  <a:lnTo>
                    <a:pt x="63792" y="5056"/>
                  </a:lnTo>
                  <a:lnTo>
                    <a:pt x="0" y="41162"/>
                  </a:lnTo>
                  <a:lnTo>
                    <a:pt x="14282" y="63768"/>
                  </a:lnTo>
                  <a:lnTo>
                    <a:pt x="23628" y="79898"/>
                  </a:lnTo>
                  <a:lnTo>
                    <a:pt x="32164" y="97288"/>
                  </a:lnTo>
                  <a:lnTo>
                    <a:pt x="44018" y="123674"/>
                  </a:lnTo>
                  <a:lnTo>
                    <a:pt x="44018" y="466485"/>
                  </a:lnTo>
                  <a:lnTo>
                    <a:pt x="48679" y="499815"/>
                  </a:lnTo>
                  <a:lnTo>
                    <a:pt x="61379" y="532155"/>
                  </a:lnTo>
                  <a:lnTo>
                    <a:pt x="80194" y="559873"/>
                  </a:lnTo>
                  <a:lnTo>
                    <a:pt x="103200" y="579337"/>
                  </a:lnTo>
                  <a:lnTo>
                    <a:pt x="412292" y="757823"/>
                  </a:lnTo>
                  <a:lnTo>
                    <a:pt x="432018" y="790850"/>
                  </a:lnTo>
                  <a:lnTo>
                    <a:pt x="447281" y="816182"/>
                  </a:lnTo>
                  <a:lnTo>
                    <a:pt x="460629" y="838138"/>
                  </a:lnTo>
                  <a:lnTo>
                    <a:pt x="520395" y="803657"/>
                  </a:lnTo>
                  <a:lnTo>
                    <a:pt x="529072" y="796841"/>
                  </a:lnTo>
                  <a:lnTo>
                    <a:pt x="535271" y="786234"/>
                  </a:lnTo>
                  <a:lnTo>
                    <a:pt x="538992" y="772010"/>
                  </a:lnTo>
                  <a:lnTo>
                    <a:pt x="540232" y="754445"/>
                  </a:lnTo>
                  <a:lnTo>
                    <a:pt x="540232" y="339624"/>
                  </a:lnTo>
                  <a:lnTo>
                    <a:pt x="523627" y="273954"/>
                  </a:lnTo>
                  <a:lnTo>
                    <a:pt x="482561" y="226772"/>
                  </a:lnTo>
                  <a:lnTo>
                    <a:pt x="103403" y="7011"/>
                  </a:lnTo>
                  <a:lnTo>
                    <a:pt x="92083" y="1911"/>
                  </a:lnTo>
                  <a:lnTo>
                    <a:pt x="81621" y="0"/>
                  </a:lnTo>
                  <a:close/>
                </a:path>
                <a:path w="540385" h="838200">
                  <a:moveTo>
                    <a:pt x="63855" y="5005"/>
                  </a:moveTo>
                  <a:close/>
                </a:path>
              </a:pathLst>
            </a:custGeom>
            <a:solidFill>
              <a:srgbClr val="005A82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1" name="object 24"/>
            <p:cNvSpPr/>
            <p:nvPr/>
          </p:nvSpPr>
          <p:spPr>
            <a:xfrm>
              <a:off x="4900662" y="5702795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5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40225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2" name="object 25"/>
            <p:cNvSpPr/>
            <p:nvPr/>
          </p:nvSpPr>
          <p:spPr>
            <a:xfrm>
              <a:off x="4850596" y="5724509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3" name="object 26"/>
            <p:cNvSpPr/>
            <p:nvPr/>
          </p:nvSpPr>
          <p:spPr>
            <a:xfrm>
              <a:off x="4944457" y="5946623"/>
              <a:ext cx="137986" cy="236740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4" name="object 27"/>
            <p:cNvSpPr/>
            <p:nvPr/>
          </p:nvSpPr>
          <p:spPr>
            <a:xfrm>
              <a:off x="5214954" y="6051776"/>
              <a:ext cx="139038" cy="23796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5" name="object 28"/>
            <p:cNvSpPr/>
            <p:nvPr/>
          </p:nvSpPr>
          <p:spPr>
            <a:xfrm>
              <a:off x="5095693" y="5978581"/>
              <a:ext cx="116838" cy="290196"/>
            </a:xfrm>
            <a:custGeom>
              <a:avLst/>
              <a:gdLst/>
              <a:ahLst/>
              <a:cxnLst/>
              <a:rect l="l" t="t" r="r" b="b"/>
              <a:pathLst>
                <a:path w="116839" h="290195">
                  <a:moveTo>
                    <a:pt x="75399" y="0"/>
                  </a:moveTo>
                  <a:lnTo>
                    <a:pt x="0" y="278485"/>
                  </a:lnTo>
                  <a:lnTo>
                    <a:pt x="41338" y="289674"/>
                  </a:lnTo>
                  <a:lnTo>
                    <a:pt x="116751" y="11201"/>
                  </a:lnTo>
                  <a:lnTo>
                    <a:pt x="75399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6" name="object 29"/>
            <p:cNvSpPr/>
            <p:nvPr/>
          </p:nvSpPr>
          <p:spPr>
            <a:xfrm>
              <a:off x="4916028" y="4884053"/>
              <a:ext cx="546113" cy="838161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7" name="object 30"/>
            <p:cNvSpPr/>
            <p:nvPr/>
          </p:nvSpPr>
          <p:spPr>
            <a:xfrm>
              <a:off x="4895201" y="4922226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CB2980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8" name="object 31"/>
            <p:cNvSpPr/>
            <p:nvPr/>
          </p:nvSpPr>
          <p:spPr>
            <a:xfrm>
              <a:off x="4841735" y="4956917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80" y="806244"/>
                  </a:lnTo>
                  <a:lnTo>
                    <a:pt x="481455" y="800206"/>
                  </a:lnTo>
                  <a:lnTo>
                    <a:pt x="494113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5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FF7E83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49" name="object 32"/>
            <p:cNvSpPr/>
            <p:nvPr/>
          </p:nvSpPr>
          <p:spPr>
            <a:xfrm>
              <a:off x="5184494" y="5175337"/>
              <a:ext cx="93980" cy="368936"/>
            </a:xfrm>
            <a:custGeom>
              <a:avLst/>
              <a:gdLst/>
              <a:ahLst/>
              <a:cxnLst/>
              <a:rect l="l" t="t" r="r" b="b"/>
              <a:pathLst>
                <a:path w="93979" h="368935">
                  <a:moveTo>
                    <a:pt x="0" y="315607"/>
                  </a:moveTo>
                  <a:lnTo>
                    <a:pt x="0" y="347078"/>
                  </a:lnTo>
                  <a:lnTo>
                    <a:pt x="22148" y="359879"/>
                  </a:lnTo>
                  <a:lnTo>
                    <a:pt x="42245" y="368654"/>
                  </a:lnTo>
                  <a:lnTo>
                    <a:pt x="56270" y="367266"/>
                  </a:lnTo>
                  <a:lnTo>
                    <a:pt x="64489" y="354355"/>
                  </a:lnTo>
                  <a:lnTo>
                    <a:pt x="67170" y="328561"/>
                  </a:lnTo>
                  <a:lnTo>
                    <a:pt x="67027" y="323451"/>
                  </a:lnTo>
                  <a:lnTo>
                    <a:pt x="15824" y="323451"/>
                  </a:lnTo>
                  <a:lnTo>
                    <a:pt x="6680" y="319468"/>
                  </a:lnTo>
                  <a:lnTo>
                    <a:pt x="0" y="315607"/>
                  </a:lnTo>
                  <a:close/>
                </a:path>
                <a:path w="93979" h="368935">
                  <a:moveTo>
                    <a:pt x="38455" y="201663"/>
                  </a:moveTo>
                  <a:lnTo>
                    <a:pt x="30333" y="205787"/>
                  </a:lnTo>
                  <a:lnTo>
                    <a:pt x="25508" y="216660"/>
                  </a:lnTo>
                  <a:lnTo>
                    <a:pt x="23914" y="235381"/>
                  </a:lnTo>
                  <a:lnTo>
                    <a:pt x="24134" y="253106"/>
                  </a:lnTo>
                  <a:lnTo>
                    <a:pt x="25103" y="285841"/>
                  </a:lnTo>
                  <a:lnTo>
                    <a:pt x="25323" y="301980"/>
                  </a:lnTo>
                  <a:lnTo>
                    <a:pt x="24487" y="315271"/>
                  </a:lnTo>
                  <a:lnTo>
                    <a:pt x="21540" y="322240"/>
                  </a:lnTo>
                  <a:lnTo>
                    <a:pt x="15824" y="323451"/>
                  </a:lnTo>
                  <a:lnTo>
                    <a:pt x="67027" y="323451"/>
                  </a:lnTo>
                  <a:lnTo>
                    <a:pt x="66622" y="308949"/>
                  </a:lnTo>
                  <a:lnTo>
                    <a:pt x="65417" y="291830"/>
                  </a:lnTo>
                  <a:lnTo>
                    <a:pt x="64212" y="275315"/>
                  </a:lnTo>
                  <a:lnTo>
                    <a:pt x="63665" y="257517"/>
                  </a:lnTo>
                  <a:lnTo>
                    <a:pt x="65175" y="247878"/>
                  </a:lnTo>
                  <a:lnTo>
                    <a:pt x="70211" y="241369"/>
                  </a:lnTo>
                  <a:lnTo>
                    <a:pt x="79534" y="239833"/>
                  </a:lnTo>
                  <a:lnTo>
                    <a:pt x="93903" y="239833"/>
                  </a:lnTo>
                  <a:lnTo>
                    <a:pt x="93903" y="210413"/>
                  </a:lnTo>
                  <a:lnTo>
                    <a:pt x="84735" y="203187"/>
                  </a:lnTo>
                  <a:lnTo>
                    <a:pt x="49936" y="203187"/>
                  </a:lnTo>
                  <a:lnTo>
                    <a:pt x="38455" y="201663"/>
                  </a:lnTo>
                  <a:close/>
                </a:path>
                <a:path w="93979" h="368935">
                  <a:moveTo>
                    <a:pt x="93903" y="239833"/>
                  </a:moveTo>
                  <a:lnTo>
                    <a:pt x="79534" y="239833"/>
                  </a:lnTo>
                  <a:lnTo>
                    <a:pt x="93903" y="245109"/>
                  </a:lnTo>
                  <a:lnTo>
                    <a:pt x="93903" y="239833"/>
                  </a:lnTo>
                  <a:close/>
                </a:path>
                <a:path w="93979" h="368935">
                  <a:moveTo>
                    <a:pt x="0" y="0"/>
                  </a:moveTo>
                  <a:lnTo>
                    <a:pt x="0" y="31483"/>
                  </a:lnTo>
                  <a:lnTo>
                    <a:pt x="6680" y="35344"/>
                  </a:lnTo>
                  <a:lnTo>
                    <a:pt x="15824" y="41913"/>
                  </a:lnTo>
                  <a:lnTo>
                    <a:pt x="21540" y="49722"/>
                  </a:lnTo>
                  <a:lnTo>
                    <a:pt x="24487" y="60095"/>
                  </a:lnTo>
                  <a:lnTo>
                    <a:pt x="25323" y="74358"/>
                  </a:lnTo>
                  <a:lnTo>
                    <a:pt x="25103" y="90241"/>
                  </a:lnTo>
                  <a:lnTo>
                    <a:pt x="24134" y="121855"/>
                  </a:lnTo>
                  <a:lnTo>
                    <a:pt x="23914" y="139331"/>
                  </a:lnTo>
                  <a:lnTo>
                    <a:pt x="25508" y="159887"/>
                  </a:lnTo>
                  <a:lnTo>
                    <a:pt x="30333" y="176329"/>
                  </a:lnTo>
                  <a:lnTo>
                    <a:pt x="38455" y="189834"/>
                  </a:lnTo>
                  <a:lnTo>
                    <a:pt x="49936" y="201574"/>
                  </a:lnTo>
                  <a:lnTo>
                    <a:pt x="49936" y="203187"/>
                  </a:lnTo>
                  <a:lnTo>
                    <a:pt x="84735" y="203187"/>
                  </a:lnTo>
                  <a:lnTo>
                    <a:pt x="79534" y="199088"/>
                  </a:lnTo>
                  <a:lnTo>
                    <a:pt x="70211" y="186785"/>
                  </a:lnTo>
                  <a:lnTo>
                    <a:pt x="65175" y="174462"/>
                  </a:lnTo>
                  <a:lnTo>
                    <a:pt x="63665" y="163080"/>
                  </a:lnTo>
                  <a:lnTo>
                    <a:pt x="64212" y="145917"/>
                  </a:lnTo>
                  <a:lnTo>
                    <a:pt x="65417" y="130800"/>
                  </a:lnTo>
                  <a:lnTo>
                    <a:pt x="66622" y="115078"/>
                  </a:lnTo>
                  <a:lnTo>
                    <a:pt x="64489" y="67202"/>
                  </a:lnTo>
                  <a:lnTo>
                    <a:pt x="42245" y="27213"/>
                  </a:lnTo>
                  <a:lnTo>
                    <a:pt x="22148" y="127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51" name="object 33"/>
            <p:cNvSpPr/>
            <p:nvPr/>
          </p:nvSpPr>
          <p:spPr>
            <a:xfrm>
              <a:off x="4980700" y="5090324"/>
              <a:ext cx="93980" cy="368936"/>
            </a:xfrm>
            <a:custGeom>
              <a:avLst/>
              <a:gdLst/>
              <a:ahLst/>
              <a:cxnLst/>
              <a:rect l="l" t="t" r="r" b="b"/>
              <a:pathLst>
                <a:path w="93979" h="368935">
                  <a:moveTo>
                    <a:pt x="0" y="123544"/>
                  </a:moveTo>
                  <a:lnTo>
                    <a:pt x="0" y="158253"/>
                  </a:lnTo>
                  <a:lnTo>
                    <a:pt x="14368" y="169570"/>
                  </a:lnTo>
                  <a:lnTo>
                    <a:pt x="23691" y="181870"/>
                  </a:lnTo>
                  <a:lnTo>
                    <a:pt x="28728" y="194191"/>
                  </a:lnTo>
                  <a:lnTo>
                    <a:pt x="30238" y="205573"/>
                  </a:lnTo>
                  <a:lnTo>
                    <a:pt x="29691" y="222743"/>
                  </a:lnTo>
                  <a:lnTo>
                    <a:pt x="28486" y="237864"/>
                  </a:lnTo>
                  <a:lnTo>
                    <a:pt x="27281" y="253588"/>
                  </a:lnTo>
                  <a:lnTo>
                    <a:pt x="29413" y="301456"/>
                  </a:lnTo>
                  <a:lnTo>
                    <a:pt x="51658" y="341440"/>
                  </a:lnTo>
                  <a:lnTo>
                    <a:pt x="93903" y="368654"/>
                  </a:lnTo>
                  <a:lnTo>
                    <a:pt x="93903" y="337183"/>
                  </a:lnTo>
                  <a:lnTo>
                    <a:pt x="87223" y="333322"/>
                  </a:lnTo>
                  <a:lnTo>
                    <a:pt x="78079" y="326747"/>
                  </a:lnTo>
                  <a:lnTo>
                    <a:pt x="72363" y="318939"/>
                  </a:lnTo>
                  <a:lnTo>
                    <a:pt x="69416" y="308569"/>
                  </a:lnTo>
                  <a:lnTo>
                    <a:pt x="68580" y="294308"/>
                  </a:lnTo>
                  <a:lnTo>
                    <a:pt x="68800" y="278425"/>
                  </a:lnTo>
                  <a:lnTo>
                    <a:pt x="69769" y="246811"/>
                  </a:lnTo>
                  <a:lnTo>
                    <a:pt x="69989" y="229335"/>
                  </a:lnTo>
                  <a:lnTo>
                    <a:pt x="68395" y="208777"/>
                  </a:lnTo>
                  <a:lnTo>
                    <a:pt x="63569" y="192331"/>
                  </a:lnTo>
                  <a:lnTo>
                    <a:pt x="55448" y="178826"/>
                  </a:lnTo>
                  <a:lnTo>
                    <a:pt x="43967" y="167092"/>
                  </a:lnTo>
                  <a:lnTo>
                    <a:pt x="43967" y="165479"/>
                  </a:lnTo>
                  <a:lnTo>
                    <a:pt x="58433" y="165479"/>
                  </a:lnTo>
                  <a:lnTo>
                    <a:pt x="63569" y="162869"/>
                  </a:lnTo>
                  <a:lnTo>
                    <a:pt x="68395" y="151999"/>
                  </a:lnTo>
                  <a:lnTo>
                    <a:pt x="69989" y="133284"/>
                  </a:lnTo>
                  <a:lnTo>
                    <a:pt x="69934" y="128822"/>
                  </a:lnTo>
                  <a:lnTo>
                    <a:pt x="14368" y="128822"/>
                  </a:lnTo>
                  <a:lnTo>
                    <a:pt x="0" y="123544"/>
                  </a:lnTo>
                  <a:close/>
                </a:path>
                <a:path w="93979" h="368935">
                  <a:moveTo>
                    <a:pt x="58433" y="165479"/>
                  </a:moveTo>
                  <a:lnTo>
                    <a:pt x="43967" y="165479"/>
                  </a:lnTo>
                  <a:lnTo>
                    <a:pt x="55448" y="166996"/>
                  </a:lnTo>
                  <a:lnTo>
                    <a:pt x="58433" y="165479"/>
                  </a:lnTo>
                  <a:close/>
                </a:path>
                <a:path w="93979" h="368935">
                  <a:moveTo>
                    <a:pt x="51658" y="0"/>
                  </a:moveTo>
                  <a:lnTo>
                    <a:pt x="37633" y="1389"/>
                  </a:lnTo>
                  <a:lnTo>
                    <a:pt x="29413" y="14303"/>
                  </a:lnTo>
                  <a:lnTo>
                    <a:pt x="26733" y="40105"/>
                  </a:lnTo>
                  <a:lnTo>
                    <a:pt x="27281" y="59715"/>
                  </a:lnTo>
                  <a:lnTo>
                    <a:pt x="28486" y="76830"/>
                  </a:lnTo>
                  <a:lnTo>
                    <a:pt x="29691" y="93340"/>
                  </a:lnTo>
                  <a:lnTo>
                    <a:pt x="30238" y="111136"/>
                  </a:lnTo>
                  <a:lnTo>
                    <a:pt x="28728" y="120781"/>
                  </a:lnTo>
                  <a:lnTo>
                    <a:pt x="23691" y="127288"/>
                  </a:lnTo>
                  <a:lnTo>
                    <a:pt x="14368" y="128822"/>
                  </a:lnTo>
                  <a:lnTo>
                    <a:pt x="69934" y="128822"/>
                  </a:lnTo>
                  <a:lnTo>
                    <a:pt x="69769" y="115554"/>
                  </a:lnTo>
                  <a:lnTo>
                    <a:pt x="68800" y="82823"/>
                  </a:lnTo>
                  <a:lnTo>
                    <a:pt x="68580" y="66686"/>
                  </a:lnTo>
                  <a:lnTo>
                    <a:pt x="69416" y="53388"/>
                  </a:lnTo>
                  <a:lnTo>
                    <a:pt x="72363" y="46416"/>
                  </a:lnTo>
                  <a:lnTo>
                    <a:pt x="78079" y="45208"/>
                  </a:lnTo>
                  <a:lnTo>
                    <a:pt x="93903" y="45208"/>
                  </a:lnTo>
                  <a:lnTo>
                    <a:pt x="93903" y="21575"/>
                  </a:lnTo>
                  <a:lnTo>
                    <a:pt x="71755" y="8774"/>
                  </a:lnTo>
                  <a:lnTo>
                    <a:pt x="51658" y="0"/>
                  </a:lnTo>
                  <a:close/>
                </a:path>
                <a:path w="93979" h="368935">
                  <a:moveTo>
                    <a:pt x="93903" y="45208"/>
                  </a:moveTo>
                  <a:lnTo>
                    <a:pt x="78079" y="45208"/>
                  </a:lnTo>
                  <a:lnTo>
                    <a:pt x="87223" y="49198"/>
                  </a:lnTo>
                  <a:lnTo>
                    <a:pt x="93903" y="53046"/>
                  </a:lnTo>
                  <a:lnTo>
                    <a:pt x="93903" y="45208"/>
                  </a:lnTo>
                  <a:close/>
                </a:path>
              </a:pathLst>
            </a:custGeom>
            <a:solidFill>
              <a:srgbClr val="F5F5F5"/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  <p:sp>
          <p:nvSpPr>
            <p:cNvPr id="52" name="object 34"/>
            <p:cNvSpPr/>
            <p:nvPr/>
          </p:nvSpPr>
          <p:spPr>
            <a:xfrm>
              <a:off x="4133998" y="4574617"/>
              <a:ext cx="499109" cy="806450"/>
            </a:xfrm>
            <a:custGeom>
              <a:avLst/>
              <a:gdLst/>
              <a:ahLst/>
              <a:cxnLst/>
              <a:rect l="l" t="t" r="r" b="b"/>
              <a:pathLst>
                <a:path w="499110" h="806450">
                  <a:moveTo>
                    <a:pt x="36068" y="0"/>
                  </a:moveTo>
                  <a:lnTo>
                    <a:pt x="17297" y="6037"/>
                  </a:lnTo>
                  <a:lnTo>
                    <a:pt x="4641" y="23762"/>
                  </a:lnTo>
                  <a:lnTo>
                    <a:pt x="0" y="51738"/>
                  </a:lnTo>
                  <a:lnTo>
                    <a:pt x="0" y="466546"/>
                  </a:lnTo>
                  <a:lnTo>
                    <a:pt x="17297" y="532220"/>
                  </a:lnTo>
                  <a:lnTo>
                    <a:pt x="59054" y="579398"/>
                  </a:lnTo>
                  <a:lnTo>
                    <a:pt x="439686" y="799159"/>
                  </a:lnTo>
                  <a:lnTo>
                    <a:pt x="462674" y="806244"/>
                  </a:lnTo>
                  <a:lnTo>
                    <a:pt x="481450" y="800206"/>
                  </a:lnTo>
                  <a:lnTo>
                    <a:pt x="494111" y="782481"/>
                  </a:lnTo>
                  <a:lnTo>
                    <a:pt x="498754" y="754505"/>
                  </a:lnTo>
                  <a:lnTo>
                    <a:pt x="498754" y="339698"/>
                  </a:lnTo>
                  <a:lnTo>
                    <a:pt x="481450" y="274017"/>
                  </a:lnTo>
                  <a:lnTo>
                    <a:pt x="439686" y="226833"/>
                  </a:lnTo>
                  <a:lnTo>
                    <a:pt x="59054" y="7085"/>
                  </a:lnTo>
                  <a:lnTo>
                    <a:pt x="36068" y="0"/>
                  </a:lnTo>
                  <a:close/>
                </a:path>
              </a:pathLst>
            </a:custGeom>
            <a:solidFill>
              <a:srgbClr val="005A82">
                <a:alpha val="14999"/>
              </a:srgbClr>
            </a:solidFill>
          </p:spPr>
          <p:txBody>
            <a:bodyPr wrap="square" lIns="0" tIns="0" rIns="0" bIns="0" rtlCol="0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24185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10"/>
          <p:cNvSpPr>
            <a:spLocks/>
          </p:cNvSpPr>
          <p:nvPr userDrawn="1"/>
        </p:nvSpPr>
        <p:spPr bwMode="auto">
          <a:xfrm>
            <a:off x="0" y="0"/>
            <a:ext cx="4191000" cy="6799548"/>
          </a:xfrm>
          <a:custGeom>
            <a:avLst/>
            <a:gdLst>
              <a:gd name="T0" fmla="*/ 0 w 532"/>
              <a:gd name="T1" fmla="*/ 0 h 861"/>
              <a:gd name="T2" fmla="*/ 0 w 532"/>
              <a:gd name="T3" fmla="*/ 727 h 861"/>
              <a:gd name="T4" fmla="*/ 532 w 532"/>
              <a:gd name="T5" fmla="*/ 616 h 861"/>
              <a:gd name="T6" fmla="*/ 532 w 532"/>
              <a:gd name="T7" fmla="*/ 0 h 861"/>
              <a:gd name="T8" fmla="*/ 0 w 532"/>
              <a:gd name="T9" fmla="*/ 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2" h="861">
                <a:moveTo>
                  <a:pt x="0" y="0"/>
                </a:moveTo>
                <a:cubicBezTo>
                  <a:pt x="0" y="727"/>
                  <a:pt x="0" y="727"/>
                  <a:pt x="0" y="727"/>
                </a:cubicBezTo>
                <a:cubicBezTo>
                  <a:pt x="63" y="743"/>
                  <a:pt x="532" y="861"/>
                  <a:pt x="532" y="616"/>
                </a:cubicBezTo>
                <a:cubicBezTo>
                  <a:pt x="532" y="0"/>
                  <a:pt x="532" y="0"/>
                  <a:pt x="53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58287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86200"/>
            <a:ext cx="9319260" cy="25761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" name="Freeform 24"/>
          <p:cNvSpPr/>
          <p:nvPr userDrawn="1"/>
        </p:nvSpPr>
        <p:spPr>
          <a:xfrm>
            <a:off x="5120014" y="1680518"/>
            <a:ext cx="7071986" cy="5177482"/>
          </a:xfrm>
          <a:custGeom>
            <a:avLst/>
            <a:gdLst>
              <a:gd name="connsiteX0" fmla="*/ 7071986 w 7071986"/>
              <a:gd name="connsiteY0" fmla="*/ 0 h 5177482"/>
              <a:gd name="connsiteX1" fmla="*/ 7071986 w 7071986"/>
              <a:gd name="connsiteY1" fmla="*/ 5177482 h 5177482"/>
              <a:gd name="connsiteX2" fmla="*/ 418101 w 7071986"/>
              <a:gd name="connsiteY2" fmla="*/ 5177482 h 5177482"/>
              <a:gd name="connsiteX3" fmla="*/ 364654 w 7071986"/>
              <a:gd name="connsiteY3" fmla="*/ 4968325 h 5177482"/>
              <a:gd name="connsiteX4" fmla="*/ 0 w 7071986"/>
              <a:gd name="connsiteY4" fmla="*/ 3541321 h 5177482"/>
              <a:gd name="connsiteX5" fmla="*/ 3728314 w 7071986"/>
              <a:gd name="connsiteY5" fmla="*/ 1575222 h 5177482"/>
              <a:gd name="connsiteX6" fmla="*/ 7065199 w 7071986"/>
              <a:gd name="connsiteY6" fmla="*/ 3119 h 5177482"/>
              <a:gd name="connsiteX7" fmla="*/ 7071986 w 7071986"/>
              <a:gd name="connsiteY7" fmla="*/ 0 h 5177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71986" h="5177482">
                <a:moveTo>
                  <a:pt x="7071986" y="0"/>
                </a:moveTo>
                <a:lnTo>
                  <a:pt x="7071986" y="5177482"/>
                </a:lnTo>
                <a:lnTo>
                  <a:pt x="418101" y="5177482"/>
                </a:lnTo>
                <a:lnTo>
                  <a:pt x="364654" y="4968325"/>
                </a:lnTo>
                <a:cubicBezTo>
                  <a:pt x="0" y="3541321"/>
                  <a:pt x="0" y="3541321"/>
                  <a:pt x="0" y="3541321"/>
                </a:cubicBezTo>
                <a:cubicBezTo>
                  <a:pt x="1109586" y="2904634"/>
                  <a:pt x="2352357" y="2249268"/>
                  <a:pt x="3728314" y="1575222"/>
                </a:cubicBezTo>
                <a:cubicBezTo>
                  <a:pt x="4522805" y="1180753"/>
                  <a:pt x="6066379" y="462615"/>
                  <a:pt x="7065199" y="3119"/>
                </a:cubicBezTo>
                <a:lnTo>
                  <a:pt x="70719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856419" y="1375746"/>
            <a:ext cx="5927594" cy="4974907"/>
            <a:chOff x="5532556" y="1291077"/>
            <a:chExt cx="5927594" cy="4974907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32556" y="1291077"/>
              <a:ext cx="5927594" cy="4974907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6217920" y="525018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10%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139940" y="448818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20%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8100060" y="375666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30%</a:t>
              </a:r>
            </a:p>
          </p:txBody>
        </p:sp>
      </p:grp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4083602"/>
            <a:ext cx="4591062" cy="217041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570953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 userDrawn="1"/>
        </p:nvSpPr>
        <p:spPr>
          <a:xfrm>
            <a:off x="-19436" y="0"/>
            <a:ext cx="8471853" cy="6858000"/>
          </a:xfrm>
          <a:custGeom>
            <a:avLst/>
            <a:gdLst>
              <a:gd name="connsiteX0" fmla="*/ 0 w 8471853"/>
              <a:gd name="connsiteY0" fmla="*/ 0 h 6858000"/>
              <a:gd name="connsiteX1" fmla="*/ 4495269 w 8471853"/>
              <a:gd name="connsiteY1" fmla="*/ 851475 h 6858000"/>
              <a:gd name="connsiteX2" fmla="*/ 8471853 w 8471853"/>
              <a:gd name="connsiteY2" fmla="*/ 1803973 h 6858000"/>
              <a:gd name="connsiteX3" fmla="*/ 8471853 w 8471853"/>
              <a:gd name="connsiteY3" fmla="*/ 6626401 h 6858000"/>
              <a:gd name="connsiteX4" fmla="*/ 8471853 w 8471853"/>
              <a:gd name="connsiteY4" fmla="*/ 6858000 h 6858000"/>
              <a:gd name="connsiteX5" fmla="*/ 0 w 8471853"/>
              <a:gd name="connsiteY5" fmla="*/ 6858000 h 6858000"/>
              <a:gd name="connsiteX6" fmla="*/ 0 w 8471853"/>
              <a:gd name="connsiteY6" fmla="*/ 6823731 h 6858000"/>
              <a:gd name="connsiteX7" fmla="*/ 0 w 8471853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71853" h="6858000">
                <a:moveTo>
                  <a:pt x="0" y="0"/>
                </a:moveTo>
                <a:cubicBezTo>
                  <a:pt x="115264" y="14432"/>
                  <a:pt x="3212965" y="577272"/>
                  <a:pt x="4495269" y="851475"/>
                </a:cubicBezTo>
                <a:cubicBezTo>
                  <a:pt x="5950468" y="1154543"/>
                  <a:pt x="7275996" y="1472042"/>
                  <a:pt x="8471853" y="1803973"/>
                </a:cubicBezTo>
                <a:cubicBezTo>
                  <a:pt x="8471853" y="1803973"/>
                  <a:pt x="8471853" y="1803973"/>
                  <a:pt x="8471853" y="6626401"/>
                </a:cubicBezTo>
                <a:lnTo>
                  <a:pt x="8471853" y="6858000"/>
                </a:lnTo>
                <a:lnTo>
                  <a:pt x="0" y="6858000"/>
                </a:lnTo>
                <a:lnTo>
                  <a:pt x="0" y="6823731"/>
                </a:lnTo>
                <a:cubicBezTo>
                  <a:pt x="0" y="5587721"/>
                  <a:pt x="0" y="350602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0242" y="2946400"/>
            <a:ext cx="3512278" cy="315396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933768"/>
            <a:ext cx="9864476" cy="47910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8836" y="1524000"/>
            <a:ext cx="5701406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2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6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8 Sogeti. All rights reserved.</a:t>
            </a:r>
          </a:p>
        </p:txBody>
      </p:sp>
      <p:cxnSp>
        <p:nvCxnSpPr>
          <p:cNvPr id="28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4543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hyperlink" Target="https://www.capgemini.com/optimize-your-business-and-it-operations" TargetMode="Externa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99153" y="6587911"/>
            <a:ext cx="4165058" cy="155576"/>
            <a:chOff x="399153" y="6587911"/>
            <a:chExt cx="4165058" cy="155576"/>
          </a:xfrm>
        </p:grpSpPr>
        <p:sp>
          <p:nvSpPr>
            <p:cNvPr id="29" name="Rectangle 27">
              <a:hlinkClick r:id="rId26"/>
              <a:extLst>
                <a:ext uri="{FF2B5EF4-FFF2-40B4-BE49-F238E27FC236}">
                  <a16:creationId xmlns:a16="http://schemas.microsoft.com/office/drawing/2014/main" id="{F376ABD1-4930-42EB-9A73-9A9C7C6BF2D3}"/>
                </a:ext>
              </a:extLst>
            </p:cNvPr>
            <p:cNvSpPr/>
            <p:nvPr userDrawn="1"/>
          </p:nvSpPr>
          <p:spPr>
            <a:xfrm>
              <a:off x="399153" y="6604143"/>
              <a:ext cx="1288814" cy="12311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lvl="0" algn="l" defTabSz="914400">
                <a:lnSpc>
                  <a:spcPct val="100000"/>
                </a:lnSpc>
                <a:defRPr/>
              </a:pPr>
              <a:r>
                <a:rPr lang="en-US" sz="800" kern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Toyota Material Handling</a:t>
              </a:r>
              <a:endParaRPr lang="en-US" sz="800" kern="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27" name="Conector reto 49">
              <a:extLst>
                <a:ext uri="{FF2B5EF4-FFF2-40B4-BE49-F238E27FC236}">
                  <a16:creationId xmlns:a16="http://schemas.microsoft.com/office/drawing/2014/main" id="{6B6D7F6B-C184-4C2B-8EB7-067E0C1E8DF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13917" y="6587911"/>
              <a:ext cx="0" cy="155576"/>
            </a:xfrm>
            <a:prstGeom prst="line">
              <a:avLst/>
            </a:prstGeom>
            <a:solidFill>
              <a:schemeClr val="tx1"/>
            </a:solidFill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7">
              <a:hlinkClick r:id="rId26"/>
              <a:extLst>
                <a:ext uri="{FF2B5EF4-FFF2-40B4-BE49-F238E27FC236}">
                  <a16:creationId xmlns:a16="http://schemas.microsoft.com/office/drawing/2014/main" id="{F376ABD1-4930-42EB-9A73-9A9C7C6BF2D3}"/>
                </a:ext>
              </a:extLst>
            </p:cNvPr>
            <p:cNvSpPr/>
            <p:nvPr userDrawn="1"/>
          </p:nvSpPr>
          <p:spPr>
            <a:xfrm>
              <a:off x="1939867" y="6602031"/>
              <a:ext cx="556243" cy="12311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lvl="0" algn="l" defTabSz="914400">
                <a:lnSpc>
                  <a:spcPct val="100000"/>
                </a:lnSpc>
                <a:defRPr/>
              </a:pPr>
              <a:r>
                <a:rPr lang="en-US" sz="800" kern="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07-Nov-18</a:t>
              </a:r>
            </a:p>
          </p:txBody>
        </p:sp>
        <p:sp>
          <p:nvSpPr>
            <p:cNvPr id="31" name="Retângulo 43">
              <a:extLst>
                <a:ext uri="{FF2B5EF4-FFF2-40B4-BE49-F238E27FC236}">
                  <a16:creationId xmlns:a16="http://schemas.microsoft.com/office/drawing/2014/main" id="{834ADCB4-BFB1-450D-8F6D-64217F4CD92C}"/>
                </a:ext>
              </a:extLst>
            </p:cNvPr>
            <p:cNvSpPr/>
            <p:nvPr userDrawn="1"/>
          </p:nvSpPr>
          <p:spPr>
            <a:xfrm>
              <a:off x="2743200" y="6603930"/>
              <a:ext cx="1821011" cy="123111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n-US" sz="800">
                  <a:solidFill>
                    <a:schemeClr val="bg2">
                      <a:lumMod val="50000"/>
                    </a:schemeClr>
                  </a:solidFill>
                  <a:cs typeface="Arial" panose="020B0604020202020204" pitchFamily="34" charset="0"/>
                </a:rPr>
                <a:t>© 2018 Sogeti. All rights reserved.</a:t>
              </a:r>
            </a:p>
          </p:txBody>
        </p:sp>
        <p:cxnSp>
          <p:nvCxnSpPr>
            <p:cNvPr id="32" name="Conector reto 49">
              <a:extLst>
                <a:ext uri="{FF2B5EF4-FFF2-40B4-BE49-F238E27FC236}">
                  <a16:creationId xmlns:a16="http://schemas.microsoft.com/office/drawing/2014/main" id="{6B6D7F6B-C184-4C2B-8EB7-067E0C1E8DF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17250" y="6587911"/>
              <a:ext cx="0" cy="155576"/>
            </a:xfrm>
            <a:prstGeom prst="line">
              <a:avLst/>
            </a:prstGeom>
            <a:solidFill>
              <a:schemeClr val="tx1"/>
            </a:solidFill>
            <a:ln w="63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86" r:id="rId4"/>
    <p:sldLayoutId id="2147483823" r:id="rId5"/>
    <p:sldLayoutId id="2147483824" r:id="rId6"/>
    <p:sldLayoutId id="2147483935" r:id="rId7"/>
    <p:sldLayoutId id="2147483825" r:id="rId8"/>
    <p:sldLayoutId id="2147483826" r:id="rId9"/>
    <p:sldLayoutId id="2147483827" r:id="rId10"/>
    <p:sldLayoutId id="2147483834" r:id="rId11"/>
    <p:sldLayoutId id="2147483828" r:id="rId12"/>
    <p:sldLayoutId id="2147483829" r:id="rId13"/>
    <p:sldLayoutId id="2147483830" r:id="rId14"/>
    <p:sldLayoutId id="2147483835" r:id="rId15"/>
    <p:sldLayoutId id="2147483739" r:id="rId16"/>
    <p:sldLayoutId id="2147483850" r:id="rId17"/>
    <p:sldLayoutId id="2147483879" r:id="rId18"/>
    <p:sldLayoutId id="2147483881" r:id="rId19"/>
    <p:sldLayoutId id="2147483886" r:id="rId20"/>
    <p:sldLayoutId id="2147483887" r:id="rId21"/>
    <p:sldLayoutId id="2147483889" r:id="rId22"/>
    <p:sldLayoutId id="2147483890" r:id="rId23"/>
    <p:sldLayoutId id="2147483933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3761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014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936" r:id="rId2"/>
    <p:sldLayoutId id="2147483863" r:id="rId3"/>
    <p:sldLayoutId id="2147483864" r:id="rId4"/>
    <p:sldLayoutId id="2147483865" r:id="rId5"/>
    <p:sldLayoutId id="2147483878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</p:sldLayoutIdLst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  <p:sldLayoutId id="2147483795" r:id="rId3"/>
    <p:sldLayoutId id="2147483732" r:id="rId4"/>
    <p:sldLayoutId id="2147483836" r:id="rId5"/>
    <p:sldLayoutId id="2147483883" r:id="rId6"/>
    <p:sldLayoutId id="214748388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495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ference Architecture – </a:t>
            </a:r>
            <a:r>
              <a:rPr lang="en-US" dirty="0" err="1"/>
              <a:t>OneNative</a:t>
            </a:r>
            <a:r>
              <a:rPr lang="en-US" dirty="0"/>
              <a:t> Applications Building Blocks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B4CAC53C-6105-4595-B3EF-1FB0F9547E37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18959"/>
          <a:stretch/>
        </p:blipFill>
        <p:spPr>
          <a:xfrm>
            <a:off x="1033566" y="1311126"/>
            <a:ext cx="10091634" cy="4784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237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7809-3C2C-42B5-A2CA-DD3CC4DEB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T Logical Diagram</a:t>
            </a:r>
            <a:endParaRPr lang="en-NL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D5E23E-81A1-4C08-8122-A47F31F86DE8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963038"/>
            <a:ext cx="11254902" cy="582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4673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D3FAA8-650A-4E1B-B561-D86BE9AFB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PaaS Deployment View</a:t>
            </a:r>
            <a:br>
              <a:rPr lang="en-US" dirty="0"/>
            </a:br>
            <a:endParaRPr lang="pt-PT" dirty="0"/>
          </a:p>
        </p:txBody>
      </p:sp>
      <p:sp>
        <p:nvSpPr>
          <p:cNvPr id="8" name="Rounded Rectangle 30">
            <a:extLst>
              <a:ext uri="{FF2B5EF4-FFF2-40B4-BE49-F238E27FC236}">
                <a16:creationId xmlns:a16="http://schemas.microsoft.com/office/drawing/2014/main" id="{7FC72865-A23C-4961-9C00-078450349801}"/>
              </a:ext>
            </a:extLst>
          </p:cNvPr>
          <p:cNvSpPr/>
          <p:nvPr/>
        </p:nvSpPr>
        <p:spPr>
          <a:xfrm>
            <a:off x="10001645" y="285357"/>
            <a:ext cx="2031947" cy="5817739"/>
          </a:xfrm>
          <a:prstGeom prst="roundRect">
            <a:avLst>
              <a:gd name="adj" fmla="val 6989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243110" rIns="97244" bIns="48623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Isolated Integration </a:t>
            </a:r>
            <a:r>
              <a:rPr lang="en-US" sz="1000" dirty="0">
                <a:solidFill>
                  <a:schemeClr val="tx1"/>
                </a:solidFill>
              </a:rPr>
              <a:t>– Edge Connect using side-by-side HTTPS, VPN, and Express Route considering IPSec tunnel &amp; transit data encryption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Design to Scale Out </a:t>
            </a:r>
            <a:r>
              <a:rPr lang="en-US" sz="1000" dirty="0">
                <a:solidFill>
                  <a:schemeClr val="tx1"/>
                </a:solidFill>
              </a:rPr>
              <a:t>– Cloud Gateway and resources behind Network Load Balancers and service increase optio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Central Security Control </a:t>
            </a:r>
            <a:r>
              <a:rPr lang="en-US" sz="1000" dirty="0">
                <a:solidFill>
                  <a:schemeClr val="tx1"/>
                </a:solidFill>
              </a:rPr>
              <a:t>- Using NSGs over VNETs, Traffic blocking rules, AD authentication, </a:t>
            </a:r>
            <a:r>
              <a:rPr lang="en-US" sz="1000" dirty="0" err="1">
                <a:solidFill>
                  <a:schemeClr val="tx1"/>
                </a:solidFill>
              </a:rPr>
              <a:t>KeyVault</a:t>
            </a:r>
            <a:r>
              <a:rPr lang="en-US" sz="1000" dirty="0">
                <a:solidFill>
                  <a:schemeClr val="tx1"/>
                </a:solidFill>
              </a:rPr>
              <a:t>, and AD Domain Servic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Threat Resiliency</a:t>
            </a:r>
            <a:r>
              <a:rPr lang="en-US" sz="1000" dirty="0">
                <a:solidFill>
                  <a:schemeClr val="tx1"/>
                </a:solidFill>
              </a:rPr>
              <a:t> built using OMS and Azure security center with detect, assess, diagnose, stabilize, and close principles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Monitor and Manageability </a:t>
            </a:r>
            <a:r>
              <a:rPr lang="en-US" sz="1000" dirty="0">
                <a:solidFill>
                  <a:schemeClr val="tx1"/>
                </a:solidFill>
              </a:rPr>
              <a:t>- OMS dashboard pulling logs of type Activity, Diagnostic, Flow logs, and health of resources at application/network level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4E74058E-6F00-4D6B-A8E6-BF8F9F750623}"/>
              </a:ext>
            </a:extLst>
          </p:cNvPr>
          <p:cNvSpPr/>
          <p:nvPr/>
        </p:nvSpPr>
        <p:spPr>
          <a:xfrm>
            <a:off x="9909232" y="146111"/>
            <a:ext cx="2237734" cy="426015"/>
          </a:xfrm>
          <a:prstGeom prst="roundRect">
            <a:avLst>
              <a:gd name="adj" fmla="val 45239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48623" rIns="97244" bIns="48623" rtlCol="0" anchor="ctr"/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/>
              <a:t>Security &amp; Monitoring Design Principles</a:t>
            </a:r>
          </a:p>
        </p:txBody>
      </p:sp>
      <p:sp>
        <p:nvSpPr>
          <p:cNvPr id="10" name="Rounded Rectangle 66">
            <a:extLst>
              <a:ext uri="{FF2B5EF4-FFF2-40B4-BE49-F238E27FC236}">
                <a16:creationId xmlns:a16="http://schemas.microsoft.com/office/drawing/2014/main" id="{ACEF7B9D-85D9-4427-B6F2-FF76E3E275B9}"/>
              </a:ext>
            </a:extLst>
          </p:cNvPr>
          <p:cNvSpPr/>
          <p:nvPr/>
        </p:nvSpPr>
        <p:spPr>
          <a:xfrm>
            <a:off x="407988" y="6141458"/>
            <a:ext cx="11430000" cy="457200"/>
          </a:xfrm>
          <a:prstGeom prst="roundRect">
            <a:avLst>
              <a:gd name="adj" fmla="val 24083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0" rIns="97244" bIns="0" rtlCol="0" anchor="ctr" anchorCtr="0"/>
          <a:lstStyle/>
          <a:p>
            <a:pPr marL="0" lvl="1" algn="ctr" defTabSz="1018553">
              <a:spcAft>
                <a:spcPts val="212"/>
              </a:spcAft>
              <a:buClr>
                <a:srgbClr val="E47E1A"/>
              </a:buClr>
            </a:pPr>
            <a:r>
              <a:rPr lang="en-US" sz="1200" b="1" i="1" dirty="0">
                <a:solidFill>
                  <a:schemeClr val="bg1"/>
                </a:solidFill>
              </a:rPr>
              <a:t>Other Deployment Options Could be Azure Service Fabric, Azure Container Service, Kubernetes &amp; Docker EE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003A0C-098B-4555-8DC9-3507F5EC22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999" y="1001092"/>
            <a:ext cx="8871366" cy="483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308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D3FAA8-650A-4E1B-B561-D86BE9AFB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Containerized Deployment View – Azure</a:t>
            </a:r>
            <a:endParaRPr lang="pt-PT" dirty="0"/>
          </a:p>
        </p:txBody>
      </p:sp>
      <p:sp>
        <p:nvSpPr>
          <p:cNvPr id="8" name="Rounded Rectangle 30">
            <a:extLst>
              <a:ext uri="{FF2B5EF4-FFF2-40B4-BE49-F238E27FC236}">
                <a16:creationId xmlns:a16="http://schemas.microsoft.com/office/drawing/2014/main" id="{7FC72865-A23C-4961-9C00-078450349801}"/>
              </a:ext>
            </a:extLst>
          </p:cNvPr>
          <p:cNvSpPr/>
          <p:nvPr/>
        </p:nvSpPr>
        <p:spPr>
          <a:xfrm>
            <a:off x="9352345" y="1252918"/>
            <a:ext cx="2458656" cy="4849835"/>
          </a:xfrm>
          <a:prstGeom prst="roundRect">
            <a:avLst>
              <a:gd name="adj" fmla="val 6989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243110" rIns="97244" bIns="48623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IoT Container </a:t>
            </a:r>
            <a:r>
              <a:rPr lang="en-US" sz="1000" dirty="0">
                <a:solidFill>
                  <a:schemeClr val="tx1"/>
                </a:solidFill>
              </a:rPr>
              <a:t>–  Kafka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tream Container </a:t>
            </a:r>
            <a:r>
              <a:rPr lang="en-US" sz="1000" dirty="0">
                <a:solidFill>
                  <a:schemeClr val="tx1"/>
                </a:solidFill>
              </a:rPr>
              <a:t>–  Spark Streaming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No SQL Container </a:t>
            </a:r>
            <a:r>
              <a:rPr lang="en-US" sz="1000" dirty="0">
                <a:solidFill>
                  <a:schemeClr val="tx1"/>
                </a:solidFill>
              </a:rPr>
              <a:t>–  MongoDB, Elastic Search etc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QL DB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000" dirty="0">
                <a:solidFill>
                  <a:schemeClr val="tx1"/>
                </a:solidFill>
              </a:rPr>
              <a:t>    MS SQL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API Management Container </a:t>
            </a:r>
            <a:r>
              <a:rPr lang="en-US" sz="1000" dirty="0">
                <a:solidFill>
                  <a:schemeClr val="tx1"/>
                </a:solidFill>
              </a:rPr>
              <a:t>–  3Scale API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Device management Provisioning Container </a:t>
            </a:r>
            <a:r>
              <a:rPr lang="en-US" sz="1000" dirty="0">
                <a:solidFill>
                  <a:schemeClr val="tx1"/>
                </a:solidFill>
              </a:rPr>
              <a:t>–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3 Scale API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Data Transformation Container </a:t>
            </a:r>
            <a:r>
              <a:rPr lang="en-US" sz="1000" dirty="0">
                <a:solidFill>
                  <a:schemeClr val="tx1"/>
                </a:solidFill>
              </a:rPr>
              <a:t>–  3Scale API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Workflow Container </a:t>
            </a:r>
            <a:r>
              <a:rPr lang="en-US" sz="1000" dirty="0">
                <a:solidFill>
                  <a:schemeClr val="tx1"/>
                </a:solidFill>
              </a:rPr>
              <a:t>–  Kafka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Message Broker Container </a:t>
            </a:r>
            <a:r>
              <a:rPr lang="en-US" sz="1000" dirty="0">
                <a:solidFill>
                  <a:schemeClr val="tx1"/>
                </a:solidFill>
              </a:rPr>
              <a:t>–  RabbitMQ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Event Grid Container </a:t>
            </a:r>
            <a:r>
              <a:rPr lang="en-US" sz="1000" dirty="0">
                <a:solidFill>
                  <a:schemeClr val="tx1"/>
                </a:solidFill>
              </a:rPr>
              <a:t>–  Pager Dut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earch Container </a:t>
            </a:r>
            <a:r>
              <a:rPr lang="en-US" sz="1000" dirty="0">
                <a:solidFill>
                  <a:schemeClr val="tx1"/>
                </a:solidFill>
              </a:rPr>
              <a:t>–  Elastic Search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Work Flow Container </a:t>
            </a:r>
            <a:r>
              <a:rPr lang="en-US" sz="1000" dirty="0">
                <a:solidFill>
                  <a:schemeClr val="tx1"/>
                </a:solidFill>
              </a:rPr>
              <a:t>–  Zaiper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4E74058E-6F00-4D6B-A8E6-BF8F9F750623}"/>
              </a:ext>
            </a:extLst>
          </p:cNvPr>
          <p:cNvSpPr/>
          <p:nvPr/>
        </p:nvSpPr>
        <p:spPr>
          <a:xfrm>
            <a:off x="9473287" y="1092406"/>
            <a:ext cx="2237734" cy="333737"/>
          </a:xfrm>
          <a:prstGeom prst="roundRect">
            <a:avLst>
              <a:gd name="adj" fmla="val 45239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48623" rIns="97244" bIns="48623" rtlCol="0" anchor="ctr"/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 dirty="0"/>
              <a:t>Containers Description</a:t>
            </a:r>
          </a:p>
        </p:txBody>
      </p:sp>
      <p:sp>
        <p:nvSpPr>
          <p:cNvPr id="10" name="Rounded Rectangle 66">
            <a:extLst>
              <a:ext uri="{FF2B5EF4-FFF2-40B4-BE49-F238E27FC236}">
                <a16:creationId xmlns:a16="http://schemas.microsoft.com/office/drawing/2014/main" id="{ACEF7B9D-85D9-4427-B6F2-FF76E3E275B9}"/>
              </a:ext>
            </a:extLst>
          </p:cNvPr>
          <p:cNvSpPr/>
          <p:nvPr/>
        </p:nvSpPr>
        <p:spPr>
          <a:xfrm>
            <a:off x="407988" y="5939432"/>
            <a:ext cx="11430000" cy="457200"/>
          </a:xfrm>
          <a:prstGeom prst="roundRect">
            <a:avLst>
              <a:gd name="adj" fmla="val 24083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0" rIns="97244" bIns="0" rtlCol="0" anchor="ctr" anchorCtr="0"/>
          <a:lstStyle/>
          <a:p>
            <a:pPr marL="0" lvl="1" algn="ctr" defTabSz="1018553">
              <a:spcAft>
                <a:spcPts val="212"/>
              </a:spcAft>
              <a:buClr>
                <a:srgbClr val="E47E1A"/>
              </a:buClr>
            </a:pPr>
            <a:r>
              <a:rPr lang="en-US" sz="1200" b="1" i="1" dirty="0">
                <a:solidFill>
                  <a:schemeClr val="bg1"/>
                </a:solidFill>
              </a:rPr>
              <a:t>Other Deployment Options Could Azure Container Service &amp; DockerEE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2CA62A-432D-4F43-A11E-8E19D7A066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293" y="960655"/>
            <a:ext cx="8868072" cy="48498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442BA5-4FD6-4F76-B1FC-B0F7984B7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0868" y="4340915"/>
            <a:ext cx="573158" cy="45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851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30">
            <a:extLst>
              <a:ext uri="{FF2B5EF4-FFF2-40B4-BE49-F238E27FC236}">
                <a16:creationId xmlns:a16="http://schemas.microsoft.com/office/drawing/2014/main" id="{7FC72865-A23C-4961-9C00-078450349801}"/>
              </a:ext>
            </a:extLst>
          </p:cNvPr>
          <p:cNvSpPr/>
          <p:nvPr/>
        </p:nvSpPr>
        <p:spPr>
          <a:xfrm>
            <a:off x="9352345" y="1092406"/>
            <a:ext cx="2458656" cy="4847026"/>
          </a:xfrm>
          <a:prstGeom prst="roundRect">
            <a:avLst>
              <a:gd name="adj" fmla="val 6989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243110" rIns="97244" bIns="48623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IoT Container </a:t>
            </a:r>
            <a:r>
              <a:rPr lang="en-US" sz="1000" dirty="0">
                <a:solidFill>
                  <a:schemeClr val="tx1"/>
                </a:solidFill>
              </a:rPr>
              <a:t>–  Kafka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tream Container </a:t>
            </a:r>
            <a:r>
              <a:rPr lang="en-US" sz="1000" dirty="0">
                <a:solidFill>
                  <a:schemeClr val="tx1"/>
                </a:solidFill>
              </a:rPr>
              <a:t>–  Spark Streaming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No SQL Container </a:t>
            </a:r>
            <a:r>
              <a:rPr lang="en-US" sz="1000" dirty="0">
                <a:solidFill>
                  <a:schemeClr val="tx1"/>
                </a:solidFill>
              </a:rPr>
              <a:t>–  MongoDB, Elastic Search etc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QL Container </a:t>
            </a:r>
            <a:r>
              <a:rPr lang="en-US" sz="1000" dirty="0">
                <a:solidFill>
                  <a:schemeClr val="tx1"/>
                </a:solidFill>
              </a:rPr>
              <a:t>–  My SQL, SQL Server etc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API Management Container </a:t>
            </a:r>
            <a:r>
              <a:rPr lang="en-US" sz="1000" dirty="0">
                <a:solidFill>
                  <a:schemeClr val="tx1"/>
                </a:solidFill>
              </a:rPr>
              <a:t>–  3Scale API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Device management Provisioning Container </a:t>
            </a:r>
            <a:r>
              <a:rPr lang="en-US" sz="1000" dirty="0">
                <a:solidFill>
                  <a:schemeClr val="tx1"/>
                </a:solidFill>
              </a:rPr>
              <a:t>–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3 Scale API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Data Transformation Container </a:t>
            </a:r>
            <a:r>
              <a:rPr lang="en-US" sz="1000" dirty="0">
                <a:solidFill>
                  <a:schemeClr val="tx1"/>
                </a:solidFill>
              </a:rPr>
              <a:t>–  3Scale API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Workflow Container </a:t>
            </a:r>
            <a:r>
              <a:rPr lang="en-US" sz="1000" dirty="0">
                <a:solidFill>
                  <a:schemeClr val="tx1"/>
                </a:solidFill>
              </a:rPr>
              <a:t>–  Kafka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Message Broker Container </a:t>
            </a:r>
            <a:r>
              <a:rPr lang="en-US" sz="1000" dirty="0">
                <a:solidFill>
                  <a:schemeClr val="tx1"/>
                </a:solidFill>
              </a:rPr>
              <a:t>–  RabbitMQ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Event Grid Container </a:t>
            </a:r>
            <a:r>
              <a:rPr lang="en-US" sz="1000" dirty="0">
                <a:solidFill>
                  <a:schemeClr val="tx1"/>
                </a:solidFill>
              </a:rPr>
              <a:t>–  Pager Dut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Search Container </a:t>
            </a:r>
            <a:r>
              <a:rPr lang="en-US" sz="1000" dirty="0">
                <a:solidFill>
                  <a:schemeClr val="tx1"/>
                </a:solidFill>
              </a:rPr>
              <a:t>–  Elastic Search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Work Flow Container </a:t>
            </a:r>
            <a:r>
              <a:rPr lang="en-US" sz="1000" dirty="0">
                <a:solidFill>
                  <a:schemeClr val="tx1"/>
                </a:solidFill>
              </a:rPr>
              <a:t>–  Zaiper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4E74058E-6F00-4D6B-A8E6-BF8F9F750623}"/>
              </a:ext>
            </a:extLst>
          </p:cNvPr>
          <p:cNvSpPr/>
          <p:nvPr/>
        </p:nvSpPr>
        <p:spPr>
          <a:xfrm>
            <a:off x="9473287" y="1092406"/>
            <a:ext cx="2237734" cy="333737"/>
          </a:xfrm>
          <a:prstGeom prst="roundRect">
            <a:avLst>
              <a:gd name="adj" fmla="val 45239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48623" rIns="97244" bIns="48623" rtlCol="0" anchor="ctr"/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 dirty="0"/>
              <a:t>Containers Description</a:t>
            </a:r>
          </a:p>
        </p:txBody>
      </p:sp>
      <p:sp>
        <p:nvSpPr>
          <p:cNvPr id="10" name="Rounded Rectangle 66">
            <a:extLst>
              <a:ext uri="{FF2B5EF4-FFF2-40B4-BE49-F238E27FC236}">
                <a16:creationId xmlns:a16="http://schemas.microsoft.com/office/drawing/2014/main" id="{ACEF7B9D-85D9-4427-B6F2-FF76E3E275B9}"/>
              </a:ext>
            </a:extLst>
          </p:cNvPr>
          <p:cNvSpPr/>
          <p:nvPr/>
        </p:nvSpPr>
        <p:spPr>
          <a:xfrm>
            <a:off x="407988" y="5939432"/>
            <a:ext cx="11430000" cy="457200"/>
          </a:xfrm>
          <a:prstGeom prst="roundRect">
            <a:avLst>
              <a:gd name="adj" fmla="val 24083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44" tIns="0" rIns="97244" bIns="0" rtlCol="0" anchor="ctr" anchorCtr="0"/>
          <a:lstStyle/>
          <a:p>
            <a:pPr marL="0" lvl="1" algn="ctr" defTabSz="1018553">
              <a:spcAft>
                <a:spcPts val="212"/>
              </a:spcAft>
              <a:buClr>
                <a:srgbClr val="E47E1A"/>
              </a:buClr>
            </a:pPr>
            <a:r>
              <a:rPr lang="en-US" sz="1200" b="1" i="1" dirty="0">
                <a:solidFill>
                  <a:schemeClr val="bg1"/>
                </a:solidFill>
              </a:rPr>
              <a:t>Other Deployment Options AWS </a:t>
            </a:r>
            <a:r>
              <a:rPr lang="en-US" sz="1200" b="1" i="1" dirty="0" err="1">
                <a:solidFill>
                  <a:schemeClr val="bg1"/>
                </a:solidFill>
              </a:rPr>
              <a:t>Lamda</a:t>
            </a:r>
            <a:r>
              <a:rPr lang="en-US" sz="1200" b="1" i="1" dirty="0">
                <a:solidFill>
                  <a:schemeClr val="bg1"/>
                </a:solidFill>
              </a:rPr>
              <a:t> &amp; </a:t>
            </a:r>
            <a:r>
              <a:rPr lang="en-US" sz="1200" b="1" i="1" dirty="0" err="1">
                <a:solidFill>
                  <a:schemeClr val="bg1"/>
                </a:solidFill>
              </a:rPr>
              <a:t>DockerEE</a:t>
            </a:r>
            <a:r>
              <a:rPr lang="en-US" sz="1200" b="1" i="1" dirty="0">
                <a:solidFill>
                  <a:schemeClr val="bg1"/>
                </a:solidFill>
              </a:rPr>
              <a:t>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8A3703-C14E-49B0-9B42-B3B35571F5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71" y="995782"/>
            <a:ext cx="8897594" cy="48470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29D4CF-89F0-4917-A8B6-8C9E86C69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1234" y="4380671"/>
            <a:ext cx="612914" cy="438428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BAD3FAA8-650A-4E1B-B561-D86BE9AFB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Containerized Deployment View – AW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541870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 Template_2018_v3" id="{7278A2AE-4223-442C-A0C5-E45FABBA1215}" vid="{F7E055ED-6AB1-43F9-BF77-7175F72F91ED}"/>
    </a:ext>
  </a:extLst>
</a:theme>
</file>

<file path=ppt/theme/theme2.xml><?xml version="1.0" encoding="utf-8"?>
<a:theme xmlns:a="http://schemas.openxmlformats.org/drawingml/2006/main" name="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 Template_2018_v3" id="{7278A2AE-4223-442C-A0C5-E45FABBA1215}" vid="{91778B23-AA72-4A33-84C0-F8F8637DBDEA}"/>
    </a:ext>
  </a:extLst>
</a:theme>
</file>

<file path=ppt/theme/theme3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4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 Template_2018_v3" id="{7278A2AE-4223-442C-A0C5-E45FABBA1215}" vid="{F6865D72-1A08-4312-9EED-8998F572E7A5}"/>
    </a:ext>
  </a:extLst>
</a:theme>
</file>

<file path=ppt/theme/theme5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C6DC27965430498A97216F3E468235" ma:contentTypeVersion="6" ma:contentTypeDescription="Create a new document." ma:contentTypeScope="" ma:versionID="8953bea525e8c3b454c3f21f53628df9">
  <xsd:schema xmlns:xsd="http://www.w3.org/2001/XMLSchema" xmlns:xs="http://www.w3.org/2001/XMLSchema" xmlns:p="http://schemas.microsoft.com/office/2006/metadata/properties" xmlns:ns2="4269294d-5a2f-44c5-83fd-fa2cc2840b9a" xmlns:ns3="30895200-da44-459a-b1a4-0b8d6caea00e" targetNamespace="http://schemas.microsoft.com/office/2006/metadata/properties" ma:root="true" ma:fieldsID="bfc90cb7d51b5d9a3a7e62d6ef3ec5b1" ns2:_="" ns3:_="">
    <xsd:import namespace="4269294d-5a2f-44c5-83fd-fa2cc2840b9a"/>
    <xsd:import namespace="30895200-da44-459a-b1a4-0b8d6caea00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69294d-5a2f-44c5-83fd-fa2cc2840b9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895200-da44-459a-b1a4-0b8d6caea0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4464B4-CB13-4B63-8D81-39504B879EA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09B52C-D1A2-415C-B081-0ADDFD5A7B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69294d-5a2f-44c5-83fd-fa2cc2840b9a"/>
    <ds:schemaRef ds:uri="30895200-da44-459a-b1a4-0b8d6caea0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2361F8-E9C6-4FE0-956C-069006A881B6}">
  <ds:schemaRefs>
    <ds:schemaRef ds:uri="http://purl.org/dc/elements/1.1/"/>
    <ds:schemaRef ds:uri="4269294d-5a2f-44c5-83fd-fa2cc2840b9a"/>
    <ds:schemaRef ds:uri="http://purl.org/dc/terms/"/>
    <ds:schemaRef ds:uri="http://schemas.microsoft.com/office/2006/documentManagement/types"/>
    <ds:schemaRef ds:uri="http://purl.org/dc/dcmitype/"/>
    <ds:schemaRef ds:uri="30895200-da44-459a-b1a4-0b8d6caea00e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 Template_2018_v3</Template>
  <TotalTime>6905</TotalTime>
  <Words>259</Words>
  <Application>Microsoft Office PowerPoint</Application>
  <PresentationFormat>Widescreen</PresentationFormat>
  <Paragraphs>50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Content Layouts</vt:lpstr>
      <vt:lpstr>Cover slides</vt:lpstr>
      <vt:lpstr>Cover options</vt:lpstr>
      <vt:lpstr>Section slides</vt:lpstr>
      <vt:lpstr>Closing options</vt:lpstr>
      <vt:lpstr>think-cell Slide</vt:lpstr>
      <vt:lpstr>Reference Architecture – OneNative Applications Building Blocks</vt:lpstr>
      <vt:lpstr>IoT Logical Diagram</vt:lpstr>
      <vt:lpstr>Azure IOT PaaS Deployment View </vt:lpstr>
      <vt:lpstr>Azure IOT Containerized Deployment View – Azure</vt:lpstr>
      <vt:lpstr>Azure IOT Containerized Deployment View – AW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Capgemini</dc:creator>
  <cp:lastModifiedBy>Clemens Reijnen</cp:lastModifiedBy>
  <cp:revision>527</cp:revision>
  <dcterms:created xsi:type="dcterms:W3CDTF">2018-08-28T03:21:59Z</dcterms:created>
  <dcterms:modified xsi:type="dcterms:W3CDTF">2019-02-21T16:1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C6DC27965430498A97216F3E468235</vt:lpwstr>
  </property>
</Properties>
</file>